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</p:sldIdLst>
  <p:sldSz cx="5765800" cy="3244850"/>
  <p:notesSz cx="5765800" cy="3244850"/>
  <p:custDataLst>
    <p:tags r:id="rId16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C5FABB-5D65-4B5F-B9AF-9E3A20B82300}" v="57" dt="2023-12-27T01:01:26.25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95" d="100"/>
          <a:sy n="195" d="100"/>
        </p:scale>
        <p:origin x="570" y="12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6BC5FABB-5D65-4B5F-B9AF-9E3A20B82300}"/>
    <pc:docChg chg="undo custSel modSld modMainMaster replTag">
      <pc:chgData name="Ebrahim, Kamilah" userId="bf238fde-858a-4861-8523-750e6d83bb62" providerId="ADAL" clId="{6BC5FABB-5D65-4B5F-B9AF-9E3A20B82300}" dt="2023-12-27T01:01:55.833" v="383" actId="20577"/>
      <pc:docMkLst>
        <pc:docMk/>
      </pc:docMkLst>
      <pc:sldChg chg="modSp mod">
        <pc:chgData name="Ebrahim, Kamilah" userId="bf238fde-858a-4861-8523-750e6d83bb62" providerId="ADAL" clId="{6BC5FABB-5D65-4B5F-B9AF-9E3A20B82300}" dt="2023-12-27T00:55:27.307" v="3" actId="14100"/>
        <pc:sldMkLst>
          <pc:docMk/>
          <pc:sldMk cId="0" sldId="256"/>
        </pc:sldMkLst>
        <pc:spChg chg="mod">
          <ac:chgData name="Ebrahim, Kamilah" userId="bf238fde-858a-4861-8523-750e6d83bb62" providerId="ADAL" clId="{6BC5FABB-5D65-4B5F-B9AF-9E3A20B82300}" dt="2023-12-27T00:55:21.115" v="0"/>
          <ac:spMkLst>
            <pc:docMk/>
            <pc:sldMk cId="0" sldId="256"/>
            <ac:spMk id="3" creationId="{00000000-0000-0000-0000-000000000000}"/>
          </ac:spMkLst>
        </pc:spChg>
        <pc:spChg chg="mod">
          <ac:chgData name="Ebrahim, Kamilah" userId="bf238fde-858a-4861-8523-750e6d83bb62" providerId="ADAL" clId="{6BC5FABB-5D65-4B5F-B9AF-9E3A20B82300}" dt="2023-12-27T00:55:27.307" v="3" actId="14100"/>
          <ac:spMkLst>
            <pc:docMk/>
            <pc:sldMk cId="0" sldId="256"/>
            <ac:spMk id="8" creationId="{00000000-0000-0000-0000-000000000000}"/>
          </ac:spMkLst>
        </pc:spChg>
        <pc:grpChg chg="mod">
          <ac:chgData name="Ebrahim, Kamilah" userId="bf238fde-858a-4861-8523-750e6d83bb62" providerId="ADAL" clId="{6BC5FABB-5D65-4B5F-B9AF-9E3A20B82300}" dt="2023-12-27T00:55:24.663" v="2" actId="1076"/>
          <ac:grpSpMkLst>
            <pc:docMk/>
            <pc:sldMk cId="0" sldId="256"/>
            <ac:grpSpMk id="4" creationId="{00000000-0000-0000-0000-000000000000}"/>
          </ac:grpSpMkLst>
        </pc:grpChg>
      </pc:sldChg>
      <pc:sldChg chg="addSp delSp modSp mod">
        <pc:chgData name="Ebrahim, Kamilah" userId="bf238fde-858a-4861-8523-750e6d83bb62" providerId="ADAL" clId="{6BC5FABB-5D65-4B5F-B9AF-9E3A20B82300}" dt="2023-12-27T00:59:26.015" v="32" actId="1076"/>
        <pc:sldMkLst>
          <pc:docMk/>
          <pc:sldMk cId="0" sldId="257"/>
        </pc:sldMkLst>
        <pc:spChg chg="mod">
          <ac:chgData name="Ebrahim, Kamilah" userId="bf238fde-858a-4861-8523-750e6d83bb62" providerId="ADAL" clId="{6BC5FABB-5D65-4B5F-B9AF-9E3A20B82300}" dt="2023-12-27T00:59:26.015" v="32" actId="1076"/>
          <ac:spMkLst>
            <pc:docMk/>
            <pc:sldMk cId="0" sldId="257"/>
            <ac:spMk id="5" creationId="{00000000-0000-0000-0000-000000000000}"/>
          </ac:spMkLst>
        </pc:spChg>
        <pc:spChg chg="del mod">
          <ac:chgData name="Ebrahim, Kamilah" userId="bf238fde-858a-4861-8523-750e6d83bb62" providerId="ADAL" clId="{6BC5FABB-5D65-4B5F-B9AF-9E3A20B82300}" dt="2023-12-27T00:55:32.003" v="4" actId="478"/>
          <ac:spMkLst>
            <pc:docMk/>
            <pc:sldMk cId="0" sldId="257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5:32.473" v="5"/>
          <ac:spMkLst>
            <pc:docMk/>
            <pc:sldMk cId="0" sldId="257"/>
            <ac:spMk id="13" creationId="{0D8D0DF9-B5AE-0C7A-B432-F4C40BA9C76C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9:34.066" v="33" actId="1076"/>
        <pc:sldMkLst>
          <pc:docMk/>
          <pc:sldMk cId="0" sldId="258"/>
        </pc:sldMkLst>
        <pc:spChg chg="mod">
          <ac:chgData name="Ebrahim, Kamilah" userId="bf238fde-858a-4861-8523-750e6d83bb62" providerId="ADAL" clId="{6BC5FABB-5D65-4B5F-B9AF-9E3A20B82300}" dt="2023-12-27T00:59:34.066" v="33" actId="1076"/>
          <ac:spMkLst>
            <pc:docMk/>
            <pc:sldMk cId="0" sldId="258"/>
            <ac:spMk id="9" creationId="{00000000-0000-0000-0000-000000000000}"/>
          </ac:spMkLst>
        </pc:spChg>
        <pc:spChg chg="del mod">
          <ac:chgData name="Ebrahim, Kamilah" userId="bf238fde-858a-4861-8523-750e6d83bb62" providerId="ADAL" clId="{6BC5FABB-5D65-4B5F-B9AF-9E3A20B82300}" dt="2023-12-27T00:55:35.103" v="6" actId="478"/>
          <ac:spMkLst>
            <pc:docMk/>
            <pc:sldMk cId="0" sldId="258"/>
            <ac:spMk id="14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5:35.305" v="7"/>
          <ac:spMkLst>
            <pc:docMk/>
            <pc:sldMk cId="0" sldId="258"/>
            <ac:spMk id="17" creationId="{D1C3208A-4C64-766C-0AB9-5C4C94A65BB4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5:38.163" v="9"/>
        <pc:sldMkLst>
          <pc:docMk/>
          <pc:sldMk cId="0" sldId="259"/>
        </pc:sldMkLst>
        <pc:spChg chg="del mod">
          <ac:chgData name="Ebrahim, Kamilah" userId="bf238fde-858a-4861-8523-750e6d83bb62" providerId="ADAL" clId="{6BC5FABB-5D65-4B5F-B9AF-9E3A20B82300}" dt="2023-12-27T00:55:37.893" v="8" actId="478"/>
          <ac:spMkLst>
            <pc:docMk/>
            <pc:sldMk cId="0" sldId="259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5:38.163" v="9"/>
          <ac:spMkLst>
            <pc:docMk/>
            <pc:sldMk cId="0" sldId="259"/>
            <ac:spMk id="13" creationId="{C05A4124-EDE8-29FA-B1BA-6DF5CBF11968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5:42.303" v="11"/>
        <pc:sldMkLst>
          <pc:docMk/>
          <pc:sldMk cId="0" sldId="260"/>
        </pc:sldMkLst>
        <pc:spChg chg="del mod">
          <ac:chgData name="Ebrahim, Kamilah" userId="bf238fde-858a-4861-8523-750e6d83bb62" providerId="ADAL" clId="{6BC5FABB-5D65-4B5F-B9AF-9E3A20B82300}" dt="2023-12-27T00:55:42.034" v="10" actId="478"/>
          <ac:spMkLst>
            <pc:docMk/>
            <pc:sldMk cId="0" sldId="260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5:42.303" v="11"/>
          <ac:spMkLst>
            <pc:docMk/>
            <pc:sldMk cId="0" sldId="260"/>
            <ac:spMk id="15" creationId="{2F8698AA-1F33-4C76-5FC7-3D8229CE70D1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5:47.184" v="15"/>
        <pc:sldMkLst>
          <pc:docMk/>
          <pc:sldMk cId="0" sldId="261"/>
        </pc:sldMkLst>
        <pc:spChg chg="del mod">
          <ac:chgData name="Ebrahim, Kamilah" userId="bf238fde-858a-4861-8523-750e6d83bb62" providerId="ADAL" clId="{6BC5FABB-5D65-4B5F-B9AF-9E3A20B82300}" dt="2023-12-27T00:55:46.903" v="14" actId="478"/>
          <ac:spMkLst>
            <pc:docMk/>
            <pc:sldMk cId="0" sldId="261"/>
            <ac:spMk id="12" creationId="{00000000-0000-0000-0000-000000000000}"/>
          </ac:spMkLst>
        </pc:spChg>
        <pc:spChg chg="add del mod">
          <ac:chgData name="Ebrahim, Kamilah" userId="bf238fde-858a-4861-8523-750e6d83bb62" providerId="ADAL" clId="{6BC5FABB-5D65-4B5F-B9AF-9E3A20B82300}" dt="2023-12-27T00:55:45.704" v="13"/>
          <ac:spMkLst>
            <pc:docMk/>
            <pc:sldMk cId="0" sldId="261"/>
            <ac:spMk id="15" creationId="{60D2C213-A806-B00E-BBF6-CCD5A138432F}"/>
          </ac:spMkLst>
        </pc:spChg>
        <pc:spChg chg="add mod">
          <ac:chgData name="Ebrahim, Kamilah" userId="bf238fde-858a-4861-8523-750e6d83bb62" providerId="ADAL" clId="{6BC5FABB-5D65-4B5F-B9AF-9E3A20B82300}" dt="2023-12-27T00:55:47.184" v="15"/>
          <ac:spMkLst>
            <pc:docMk/>
            <pc:sldMk cId="0" sldId="261"/>
            <ac:spMk id="16" creationId="{3F9E4E11-20EC-5BCE-6EA5-B26B7E1FE2D5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5:51.064" v="17"/>
        <pc:sldMkLst>
          <pc:docMk/>
          <pc:sldMk cId="0" sldId="262"/>
        </pc:sldMkLst>
        <pc:spChg chg="del mod">
          <ac:chgData name="Ebrahim, Kamilah" userId="bf238fde-858a-4861-8523-750e6d83bb62" providerId="ADAL" clId="{6BC5FABB-5D65-4B5F-B9AF-9E3A20B82300}" dt="2023-12-27T00:55:50.884" v="16" actId="478"/>
          <ac:spMkLst>
            <pc:docMk/>
            <pc:sldMk cId="0" sldId="262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5:51.064" v="17"/>
          <ac:spMkLst>
            <pc:docMk/>
            <pc:sldMk cId="0" sldId="262"/>
            <ac:spMk id="13" creationId="{9268B9E1-617F-9729-27BF-E50535E84454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5:53.773" v="19"/>
        <pc:sldMkLst>
          <pc:docMk/>
          <pc:sldMk cId="0" sldId="263"/>
        </pc:sldMkLst>
        <pc:spChg chg="del mod">
          <ac:chgData name="Ebrahim, Kamilah" userId="bf238fde-858a-4861-8523-750e6d83bb62" providerId="ADAL" clId="{6BC5FABB-5D65-4B5F-B9AF-9E3A20B82300}" dt="2023-12-27T00:55:53.453" v="18" actId="478"/>
          <ac:spMkLst>
            <pc:docMk/>
            <pc:sldMk cId="0" sldId="263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5:53.773" v="19"/>
          <ac:spMkLst>
            <pc:docMk/>
            <pc:sldMk cId="0" sldId="263"/>
            <ac:spMk id="14" creationId="{0E22E4F2-B7F4-4BC3-10E1-D1CE4A5583B4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1:01:11.654" v="256" actId="20577"/>
        <pc:sldMkLst>
          <pc:docMk/>
          <pc:sldMk cId="0" sldId="264"/>
        </pc:sldMkLst>
        <pc:spChg chg="mod">
          <ac:chgData name="Ebrahim, Kamilah" userId="bf238fde-858a-4861-8523-750e6d83bb62" providerId="ADAL" clId="{6BC5FABB-5D65-4B5F-B9AF-9E3A20B82300}" dt="2023-12-27T01:00:59.216" v="175" actId="1076"/>
          <ac:spMkLst>
            <pc:docMk/>
            <pc:sldMk cId="0" sldId="264"/>
            <ac:spMk id="2" creationId="{00000000-0000-0000-0000-000000000000}"/>
          </ac:spMkLst>
        </pc:spChg>
        <pc:spChg chg="mod">
          <ac:chgData name="Ebrahim, Kamilah" userId="bf238fde-858a-4861-8523-750e6d83bb62" providerId="ADAL" clId="{6BC5FABB-5D65-4B5F-B9AF-9E3A20B82300}" dt="2023-12-27T01:01:11.654" v="256" actId="20577"/>
          <ac:spMkLst>
            <pc:docMk/>
            <pc:sldMk cId="0" sldId="264"/>
            <ac:spMk id="7" creationId="{00000000-0000-0000-0000-000000000000}"/>
          </ac:spMkLst>
        </pc:spChg>
        <pc:spChg chg="del mod">
          <ac:chgData name="Ebrahim, Kamilah" userId="bf238fde-858a-4861-8523-750e6d83bb62" providerId="ADAL" clId="{6BC5FABB-5D65-4B5F-B9AF-9E3A20B82300}" dt="2023-12-27T00:55:56.814" v="20" actId="478"/>
          <ac:spMkLst>
            <pc:docMk/>
            <pc:sldMk cId="0" sldId="264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5:57.073" v="21"/>
          <ac:spMkLst>
            <pc:docMk/>
            <pc:sldMk cId="0" sldId="264"/>
            <ac:spMk id="15" creationId="{38EAC5A4-ABF6-49D4-6AB5-B83D2131D507}"/>
          </ac:spMkLst>
        </pc:spChg>
        <pc:graphicFrameChg chg="add mod ord modVis replST">
          <ac:chgData name="Ebrahim, Kamilah" userId="bf238fde-858a-4861-8523-750e6d83bb62" providerId="ADAL" clId="{6BC5FABB-5D65-4B5F-B9AF-9E3A20B82300}" dt="2023-12-27T01:00:59.763" v="179"/>
          <ac:graphicFrameMkLst>
            <pc:docMk/>
            <pc:sldMk cId="0" sldId="264"/>
            <ac:graphicFrameMk id="16" creationId="{F983B5A1-BD25-17D5-5A40-BFB3507870DA}"/>
          </ac:graphicFrameMkLst>
        </pc:graphicFrameChg>
      </pc:sldChg>
      <pc:sldChg chg="addSp delSp modSp mod">
        <pc:chgData name="Ebrahim, Kamilah" userId="bf238fde-858a-4861-8523-750e6d83bb62" providerId="ADAL" clId="{6BC5FABB-5D65-4B5F-B9AF-9E3A20B82300}" dt="2023-12-27T01:01:49.203" v="380" actId="20577"/>
        <pc:sldMkLst>
          <pc:docMk/>
          <pc:sldMk cId="0" sldId="265"/>
        </pc:sldMkLst>
        <pc:spChg chg="mod">
          <ac:chgData name="Ebrahim, Kamilah" userId="bf238fde-858a-4861-8523-750e6d83bb62" providerId="ADAL" clId="{6BC5FABB-5D65-4B5F-B9AF-9E3A20B82300}" dt="2023-12-27T01:01:25.993" v="311" actId="20577"/>
          <ac:spMkLst>
            <pc:docMk/>
            <pc:sldMk cId="0" sldId="265"/>
            <ac:spMk id="2" creationId="{00000000-0000-0000-0000-000000000000}"/>
          </ac:spMkLst>
        </pc:spChg>
        <pc:spChg chg="mod">
          <ac:chgData name="Ebrahim, Kamilah" userId="bf238fde-858a-4861-8523-750e6d83bb62" providerId="ADAL" clId="{6BC5FABB-5D65-4B5F-B9AF-9E3A20B82300}" dt="2023-12-27T01:01:49.203" v="380" actId="20577"/>
          <ac:spMkLst>
            <pc:docMk/>
            <pc:sldMk cId="0" sldId="265"/>
            <ac:spMk id="8" creationId="{00000000-0000-0000-0000-000000000000}"/>
          </ac:spMkLst>
        </pc:spChg>
        <pc:spChg chg="del mod">
          <ac:chgData name="Ebrahim, Kamilah" userId="bf238fde-858a-4861-8523-750e6d83bb62" providerId="ADAL" clId="{6BC5FABB-5D65-4B5F-B9AF-9E3A20B82300}" dt="2023-12-27T00:55:59.923" v="22" actId="478"/>
          <ac:spMkLst>
            <pc:docMk/>
            <pc:sldMk cId="0" sldId="265"/>
            <ac:spMk id="13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6:00.184" v="23"/>
          <ac:spMkLst>
            <pc:docMk/>
            <pc:sldMk cId="0" sldId="265"/>
            <ac:spMk id="16" creationId="{D8CA3A40-26FD-2246-25E6-8268D94E4EE4}"/>
          </ac:spMkLst>
        </pc:spChg>
        <pc:graphicFrameChg chg="add mod ord modVis replST">
          <ac:chgData name="Ebrahim, Kamilah" userId="bf238fde-858a-4861-8523-750e6d83bb62" providerId="ADAL" clId="{6BC5FABB-5D65-4B5F-B9AF-9E3A20B82300}" dt="2023-12-27T01:01:26.258" v="315"/>
          <ac:graphicFrameMkLst>
            <pc:docMk/>
            <pc:sldMk cId="0" sldId="265"/>
            <ac:graphicFrameMk id="17" creationId="{3AFA79E7-1558-72A0-350D-9FF72EFD5096}"/>
          </ac:graphicFrameMkLst>
        </pc:graphicFrameChg>
      </pc:sldChg>
      <pc:sldChg chg="addSp delSp modSp mod">
        <pc:chgData name="Ebrahim, Kamilah" userId="bf238fde-858a-4861-8523-750e6d83bb62" providerId="ADAL" clId="{6BC5FABB-5D65-4B5F-B9AF-9E3A20B82300}" dt="2023-12-27T00:56:04.233" v="25"/>
        <pc:sldMkLst>
          <pc:docMk/>
          <pc:sldMk cId="0" sldId="266"/>
        </pc:sldMkLst>
        <pc:spChg chg="del mod">
          <ac:chgData name="Ebrahim, Kamilah" userId="bf238fde-858a-4861-8523-750e6d83bb62" providerId="ADAL" clId="{6BC5FABB-5D65-4B5F-B9AF-9E3A20B82300}" dt="2023-12-27T00:56:03.863" v="24" actId="478"/>
          <ac:spMkLst>
            <pc:docMk/>
            <pc:sldMk cId="0" sldId="266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6:04.233" v="25"/>
          <ac:spMkLst>
            <pc:docMk/>
            <pc:sldMk cId="0" sldId="266"/>
            <ac:spMk id="14" creationId="{9ED8AA3A-5C34-9845-B2C7-2524EDC671CB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1:01:55.833" v="383" actId="20577"/>
        <pc:sldMkLst>
          <pc:docMk/>
          <pc:sldMk cId="0" sldId="267"/>
        </pc:sldMkLst>
        <pc:spChg chg="mod">
          <ac:chgData name="Ebrahim, Kamilah" userId="bf238fde-858a-4861-8523-750e6d83bb62" providerId="ADAL" clId="{6BC5FABB-5D65-4B5F-B9AF-9E3A20B82300}" dt="2023-12-27T01:01:55.833" v="383" actId="20577"/>
          <ac:spMkLst>
            <pc:docMk/>
            <pc:sldMk cId="0" sldId="267"/>
            <ac:spMk id="7" creationId="{00000000-0000-0000-0000-000000000000}"/>
          </ac:spMkLst>
        </pc:spChg>
        <pc:spChg chg="del mod">
          <ac:chgData name="Ebrahim, Kamilah" userId="bf238fde-858a-4861-8523-750e6d83bb62" providerId="ADAL" clId="{6BC5FABB-5D65-4B5F-B9AF-9E3A20B82300}" dt="2023-12-27T00:56:07.324" v="26" actId="478"/>
          <ac:spMkLst>
            <pc:docMk/>
            <pc:sldMk cId="0" sldId="267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6:07.943" v="27"/>
          <ac:spMkLst>
            <pc:docMk/>
            <pc:sldMk cId="0" sldId="267"/>
            <ac:spMk id="15" creationId="{7AA50270-1338-7DA3-DBE1-06572D5952D7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6:10.734" v="29"/>
        <pc:sldMkLst>
          <pc:docMk/>
          <pc:sldMk cId="0" sldId="268"/>
        </pc:sldMkLst>
        <pc:spChg chg="del mod">
          <ac:chgData name="Ebrahim, Kamilah" userId="bf238fde-858a-4861-8523-750e6d83bb62" providerId="ADAL" clId="{6BC5FABB-5D65-4B5F-B9AF-9E3A20B82300}" dt="2023-12-27T00:56:10.484" v="28" actId="478"/>
          <ac:spMkLst>
            <pc:docMk/>
            <pc:sldMk cId="0" sldId="268"/>
            <ac:spMk id="9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6:10.734" v="29"/>
          <ac:spMkLst>
            <pc:docMk/>
            <pc:sldMk cId="0" sldId="268"/>
            <ac:spMk id="12" creationId="{610A5B3E-4EB7-F7D5-3DED-99E24FE7DEC3}"/>
          </ac:spMkLst>
        </pc:spChg>
      </pc:sldChg>
      <pc:sldChg chg="addSp delSp modSp mod">
        <pc:chgData name="Ebrahim, Kamilah" userId="bf238fde-858a-4861-8523-750e6d83bb62" providerId="ADAL" clId="{6BC5FABB-5D65-4B5F-B9AF-9E3A20B82300}" dt="2023-12-27T00:56:12.744" v="31"/>
        <pc:sldMkLst>
          <pc:docMk/>
          <pc:sldMk cId="0" sldId="269"/>
        </pc:sldMkLst>
        <pc:spChg chg="del mod">
          <ac:chgData name="Ebrahim, Kamilah" userId="bf238fde-858a-4861-8523-750e6d83bb62" providerId="ADAL" clId="{6BC5FABB-5D65-4B5F-B9AF-9E3A20B82300}" dt="2023-12-27T00:56:12.554" v="30" actId="478"/>
          <ac:spMkLst>
            <pc:docMk/>
            <pc:sldMk cId="0" sldId="269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6BC5FABB-5D65-4B5F-B9AF-9E3A20B82300}" dt="2023-12-27T00:56:12.744" v="31"/>
          <ac:spMkLst>
            <pc:docMk/>
            <pc:sldMk cId="0" sldId="269"/>
            <ac:spMk id="11" creationId="{DA1FDF64-AB32-FE91-9B1F-71D46DC8C68E}"/>
          </ac:spMkLst>
        </pc:spChg>
      </pc:sldChg>
      <pc:sldMasterChg chg="addSp modSp mod modSldLayout">
        <pc:chgData name="Ebrahim, Kamilah" userId="bf238fde-858a-4861-8523-750e6d83bb62" providerId="ADAL" clId="{6BC5FABB-5D65-4B5F-B9AF-9E3A20B82300}" dt="2023-12-27T01:00:32.233" v="66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6BC5FABB-5D65-4B5F-B9AF-9E3A20B82300}" dt="2023-12-27T00:55:21.115" v="0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">
          <ac:chgData name="Ebrahim, Kamilah" userId="bf238fde-858a-4861-8523-750e6d83bb62" providerId="ADAL" clId="{6BC5FABB-5D65-4B5F-B9AF-9E3A20B82300}" dt="2023-12-27T01:00:32.233" v="66"/>
          <ac:graphicFrameMkLst>
            <pc:docMk/>
            <pc:sldMasterMk cId="0" sldId="2147483648"/>
            <ac:graphicFrameMk id="7" creationId="{67AF559D-6F77-ADC5-18E5-E42B26EDC580}"/>
          </ac:graphicFrameMkLst>
        </pc:graphicFrameChg>
        <pc:sldLayoutChg chg="modSp">
          <pc:chgData name="Ebrahim, Kamilah" userId="bf238fde-858a-4861-8523-750e6d83bb62" providerId="ADAL" clId="{6BC5FABB-5D65-4B5F-B9AF-9E3A20B82300}" dt="2023-12-27T00:55:21.115" v="0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6BC5FABB-5D65-4B5F-B9AF-9E3A20B82300}" dt="2023-12-27T00:55:21.115" v="0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6BC5FABB-5D65-4B5F-B9AF-9E3A20B82300}" dt="2023-12-27T00:55:21.115" v="0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6BC5FABB-5D65-4B5F-B9AF-9E3A20B82300}" dt="2023-12-27T00:55:21.115" v="0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6BC5FABB-5D65-4B5F-B9AF-9E3A20B82300}" dt="2023-12-27T00:55:21.115" v="0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6BC5FABB-5D65-4B5F-B9AF-9E3A20B82300}" dt="2023-12-27T00:55:21.115" v="0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6BC5FABB-5D65-4B5F-B9AF-9E3A20B82300}" dt="2023-12-27T00:55:21.115" v="0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6BC5FABB-5D65-4B5F-B9AF-9E3A20B82300}" dt="2023-12-27T00:55:21.115" v="0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6BC5FABB-5D65-4B5F-B9AF-9E3A20B82300}" dt="2023-12-27T00:55:21.115" v="0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6BC5FABB-5D65-4B5F-B9AF-9E3A20B82300}" dt="2023-12-27T00:55:21.115" v="0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979"/>
            <a:ext cx="1907539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87743" y="747419"/>
            <a:ext cx="5584825" cy="82550"/>
          </a:xfrm>
          <a:custGeom>
            <a:avLst/>
            <a:gdLst/>
            <a:ahLst/>
            <a:cxnLst/>
            <a:rect l="l" t="t" r="r" b="b"/>
            <a:pathLst>
              <a:path w="5584825" h="8255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5584580" y="82384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38544" y="810675"/>
            <a:ext cx="5584825" cy="467995"/>
          </a:xfrm>
          <a:custGeom>
            <a:avLst/>
            <a:gdLst/>
            <a:ahLst/>
            <a:cxnLst/>
            <a:rect l="l" t="t" r="r" b="b"/>
            <a:pathLst>
              <a:path w="5584825" h="467994">
                <a:moveTo>
                  <a:pt x="5584580" y="0"/>
                </a:moveTo>
                <a:lnTo>
                  <a:pt x="0" y="0"/>
                </a:lnTo>
                <a:lnTo>
                  <a:pt x="0" y="467936"/>
                </a:lnTo>
                <a:lnTo>
                  <a:pt x="5584580" y="467936"/>
                </a:lnTo>
                <a:lnTo>
                  <a:pt x="55845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7743" y="791838"/>
            <a:ext cx="5584825" cy="436245"/>
          </a:xfrm>
          <a:custGeom>
            <a:avLst/>
            <a:gdLst/>
            <a:ahLst/>
            <a:cxnLst/>
            <a:rect l="l" t="t" r="r" b="b"/>
            <a:pathLst>
              <a:path w="5584825" h="436244">
                <a:moveTo>
                  <a:pt x="5584580" y="0"/>
                </a:moveTo>
                <a:lnTo>
                  <a:pt x="0" y="0"/>
                </a:lnTo>
                <a:lnTo>
                  <a:pt x="0" y="385171"/>
                </a:lnTo>
                <a:lnTo>
                  <a:pt x="4008" y="404896"/>
                </a:lnTo>
                <a:lnTo>
                  <a:pt x="14922" y="421049"/>
                </a:lnTo>
                <a:lnTo>
                  <a:pt x="31075" y="431963"/>
                </a:lnTo>
                <a:lnTo>
                  <a:pt x="50800" y="435972"/>
                </a:lnTo>
                <a:lnTo>
                  <a:pt x="5533780" y="435972"/>
                </a:lnTo>
                <a:lnTo>
                  <a:pt x="5553505" y="431963"/>
                </a:lnTo>
                <a:lnTo>
                  <a:pt x="5569658" y="421049"/>
                </a:lnTo>
                <a:lnTo>
                  <a:pt x="5580572" y="404896"/>
                </a:lnTo>
                <a:lnTo>
                  <a:pt x="5584580" y="385171"/>
                </a:lnTo>
                <a:lnTo>
                  <a:pt x="55845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7AF559D-6F77-ADC5-18E5-E42B26EDC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84098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AF559D-6F77-ADC5-18E5-E42B26EDC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4486"/>
            <a:ext cx="3215640" cy="2508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25844" y="570928"/>
            <a:ext cx="5464175" cy="22612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2781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" Target="slide14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slide" Target="slide14.xml"/><Relationship Id="rId4" Type="http://schemas.openxmlformats.org/officeDocument/2006/relationships/image" Target="../media/image1.emf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4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image" Target="../media/image21.png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" Target="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4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4.png"/><Relationship Id="rId5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openxmlformats.org/officeDocument/2006/relationships/slide" Target="slide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8544" y="810675"/>
            <a:ext cx="5584825" cy="467995"/>
          </a:xfrm>
          <a:prstGeom prst="rect">
            <a:avLst/>
          </a:prstGeom>
        </p:spPr>
        <p:txBody>
          <a:bodyPr vert="horz" wrap="square" lIns="0" tIns="55880" rIns="0" bIns="0" rtlCol="0">
            <a:spAutoFit/>
          </a:bodyPr>
          <a:lstStyle/>
          <a:p>
            <a:pPr marR="93980" algn="ctr">
              <a:lnSpc>
                <a:spcPct val="100000"/>
              </a:lnSpc>
              <a:spcBef>
                <a:spcPts val="440"/>
              </a:spcBef>
            </a:pP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6.4:</a:t>
            </a:r>
            <a:r>
              <a:rPr sz="1400" spc="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Tahoma"/>
                <a:cs typeface="Tahoma"/>
              </a:rPr>
              <a:t>Resampling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Methods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4222" y="1439505"/>
            <a:ext cx="1191895" cy="472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25" dirty="0">
                <a:latin typeface="Tahoma"/>
                <a:cs typeface="Tahoma"/>
              </a:rPr>
              <a:t>Kamilah Ebrahim</a:t>
            </a:r>
            <a:endParaRPr sz="1100" dirty="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dirty="0">
                <a:latin typeface="Tahoma"/>
                <a:cs typeface="Tahoma"/>
              </a:rPr>
              <a:t>The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University</a:t>
            </a:r>
            <a:r>
              <a:rPr sz="800" spc="35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of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spc="-10" dirty="0">
                <a:latin typeface="Tahoma"/>
                <a:cs typeface="Tahoma"/>
              </a:rPr>
              <a:t>Toronto</a:t>
            </a:r>
            <a:endParaRPr sz="8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3AFA79E7-1558-72A0-350D-9FF72EFD50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288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FA79E7-1558-72A0-350D-9FF72EFD50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4486"/>
            <a:ext cx="3702000" cy="23916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40" dirty="0"/>
              <a:t>Comparing </a:t>
            </a:r>
            <a:r>
              <a:rPr spc="50" dirty="0"/>
              <a:t>LOOC</a:t>
            </a:r>
            <a:r>
              <a:rPr spc="-40" dirty="0"/>
              <a:t> </a:t>
            </a:r>
            <a:r>
              <a:rPr spc="-30" dirty="0"/>
              <a:t>and</a:t>
            </a:r>
            <a:r>
              <a:rPr spc="-35" dirty="0"/>
              <a:t> </a:t>
            </a:r>
            <a:r>
              <a:rPr sz="1450" spc="-350" dirty="0">
                <a:latin typeface="Georgia"/>
                <a:cs typeface="Georgia"/>
              </a:rPr>
              <a:t>𝑘</a:t>
            </a:r>
            <a:r>
              <a:rPr spc="-350" dirty="0"/>
              <a:t>-</a:t>
            </a:r>
            <a:r>
              <a:rPr lang="en-US" spc="-350" dirty="0"/>
              <a:t>     </a:t>
            </a:r>
            <a:r>
              <a:rPr spc="-10" dirty="0"/>
              <a:t>fold</a:t>
            </a:r>
            <a:r>
              <a:rPr spc="-35" dirty="0"/>
              <a:t> </a:t>
            </a:r>
            <a:r>
              <a:rPr spc="50" dirty="0"/>
              <a:t>C</a:t>
            </a:r>
            <a:r>
              <a:rPr lang="en-US" spc="50" dirty="0"/>
              <a:t>ross </a:t>
            </a:r>
            <a:r>
              <a:rPr spc="50" dirty="0"/>
              <a:t>V</a:t>
            </a:r>
            <a:r>
              <a:rPr lang="en-US" spc="50" dirty="0"/>
              <a:t>alidation</a:t>
            </a:r>
            <a:endParaRPr sz="1450" dirty="0">
              <a:latin typeface="Georgia"/>
              <a:cs typeface="Georgia"/>
            </a:endParaRPr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523443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953630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81165" y="1641932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81165" y="1900047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281165" y="2330233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435762"/>
            <a:ext cx="5508625" cy="26060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9560" marR="1574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computational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time/effort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for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65" dirty="0">
                <a:solidFill>
                  <a:srgbClr val="FF0000"/>
                </a:solidFill>
                <a:latin typeface="Georgia"/>
                <a:cs typeface="Georgia"/>
              </a:rPr>
              <a:t>𝑘</a:t>
            </a:r>
            <a:r>
              <a:rPr sz="1100" spc="-265" dirty="0">
                <a:solidFill>
                  <a:srgbClr val="FF0000"/>
                </a:solidFill>
                <a:latin typeface="Tahoma"/>
                <a:cs typeface="Tahoma"/>
              </a:rPr>
              <a:t>-</a:t>
            </a:r>
            <a:r>
              <a:rPr lang="en-US" sz="1100" spc="-265" dirty="0">
                <a:solidFill>
                  <a:srgbClr val="FF0000"/>
                </a:solidFill>
                <a:latin typeface="Tahoma"/>
                <a:cs typeface="Tahoma"/>
              </a:rPr>
              <a:t>    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fold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CV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for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20" dirty="0">
                <a:solidFill>
                  <a:srgbClr val="FF0000"/>
                </a:solidFill>
                <a:latin typeface="Georgia"/>
                <a:cs typeface="Georgia"/>
              </a:rPr>
              <a:t>𝑘</a:t>
            </a:r>
            <a:r>
              <a:rPr sz="1100" spc="60" dirty="0">
                <a:solidFill>
                  <a:srgbClr val="FF0000"/>
                </a:solidFill>
                <a:latin typeface="Georgia"/>
                <a:cs typeface="Georgia"/>
              </a:rPr>
              <a:t> </a:t>
            </a:r>
            <a:r>
              <a:rPr lang="en-US" sz="1100" spc="60" dirty="0">
                <a:solidFill>
                  <a:srgbClr val="FF0000"/>
                </a:solidFill>
                <a:latin typeface="Georgia"/>
                <a:cs typeface="Georgia"/>
              </a:rPr>
              <a:t>  </a:t>
            </a:r>
            <a:r>
              <a:rPr sz="1100" spc="155" dirty="0">
                <a:solidFill>
                  <a:srgbClr val="FF0000"/>
                </a:solidFill>
                <a:latin typeface="Georgia"/>
                <a:cs typeface="Georgia"/>
              </a:rPr>
              <a:t>&lt;</a:t>
            </a:r>
            <a:r>
              <a:rPr sz="1100" spc="20" dirty="0">
                <a:solidFill>
                  <a:srgbClr val="FF0000"/>
                </a:solidFill>
                <a:latin typeface="Georgia"/>
                <a:cs typeface="Georgia"/>
              </a:rPr>
              <a:t> </a:t>
            </a:r>
            <a:r>
              <a:rPr sz="1100" spc="-430" dirty="0">
                <a:solidFill>
                  <a:srgbClr val="FF0000"/>
                </a:solidFill>
                <a:latin typeface="Georgia"/>
                <a:cs typeface="Georgia"/>
              </a:rPr>
              <a:t>𝑛</a:t>
            </a:r>
            <a:r>
              <a:rPr sz="1100" spc="95" dirty="0">
                <a:solidFill>
                  <a:srgbClr val="FF0000"/>
                </a:solidFill>
                <a:latin typeface="Georgia"/>
                <a:cs typeface="Georgia"/>
              </a:rPr>
              <a:t> </a:t>
            </a:r>
            <a:r>
              <a:rPr lang="en-US" sz="1100" spc="95" dirty="0">
                <a:solidFill>
                  <a:srgbClr val="FF0000"/>
                </a:solidFill>
                <a:latin typeface="Georgia"/>
                <a:cs typeface="Georgia"/>
              </a:rPr>
              <a:t> 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less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c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ewer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rocess.</a:t>
            </a:r>
            <a:endParaRPr sz="1100" dirty="0">
              <a:latin typeface="Tahoma"/>
              <a:cs typeface="Tahoma"/>
            </a:endParaRPr>
          </a:p>
          <a:p>
            <a:pPr marL="289560" marR="11938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LOOCV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less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biased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estima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20" dirty="0">
                <a:latin typeface="Tahoma"/>
                <a:cs typeface="Tahoma"/>
              </a:rPr>
              <a:t> rat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c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s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n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bservations.</a:t>
            </a:r>
            <a:endParaRPr sz="1100" dirty="0">
              <a:latin typeface="Tahoma"/>
              <a:cs typeface="Tahoma"/>
            </a:endParaRPr>
          </a:p>
          <a:p>
            <a:pPr marL="289560" marR="661670" indent="-277495">
              <a:lnSpc>
                <a:spcPct val="154000"/>
              </a:lnSpc>
            </a:pPr>
            <a:r>
              <a:rPr sz="1100" spc="-40" dirty="0">
                <a:latin typeface="Tahoma"/>
                <a:cs typeface="Tahoma"/>
              </a:rPr>
              <a:t>-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LOOCV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has</a:t>
            </a:r>
            <a:r>
              <a:rPr sz="1100" spc="-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</a:t>
            </a:r>
            <a:r>
              <a:rPr sz="1100" spc="-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est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error</a:t>
            </a:r>
            <a:r>
              <a:rPr sz="1100" spc="-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estimate</a:t>
            </a:r>
            <a:r>
              <a:rPr sz="1100" spc="-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has</a:t>
            </a:r>
            <a:r>
              <a:rPr sz="1100" spc="-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higher</a:t>
            </a:r>
            <a:r>
              <a:rPr sz="1100" spc="-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variance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lang="en-US" sz="1100" spc="-5" dirty="0">
                <a:latin typeface="Tahoma"/>
                <a:cs typeface="Tahoma"/>
              </a:rPr>
              <a:t> </a:t>
            </a:r>
            <a:r>
              <a:rPr sz="1100" spc="-265" dirty="0">
                <a:latin typeface="Georgia"/>
                <a:cs typeface="Georgia"/>
              </a:rPr>
              <a:t>𝑘</a:t>
            </a:r>
            <a:r>
              <a:rPr lang="en-US" sz="1100" spc="-265" dirty="0">
                <a:latin typeface="Georgia"/>
                <a:cs typeface="Georgia"/>
              </a:rPr>
              <a:t>                                          </a:t>
            </a:r>
            <a:r>
              <a:rPr sz="1100" spc="-265" dirty="0">
                <a:latin typeface="Tahoma"/>
                <a:cs typeface="Tahoma"/>
              </a:rPr>
              <a:t>-</a:t>
            </a:r>
            <a:r>
              <a:rPr lang="en-US" sz="1100" spc="-265" dirty="0">
                <a:latin typeface="Tahoma"/>
                <a:cs typeface="Tahoma"/>
              </a:rPr>
              <a:t>      </a:t>
            </a:r>
            <a:r>
              <a:rPr sz="1100" spc="-10" dirty="0">
                <a:latin typeface="Tahoma"/>
                <a:cs typeface="Tahoma"/>
              </a:rPr>
              <a:t>fold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CV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65" dirty="0">
                <a:latin typeface="Tahoma"/>
                <a:cs typeface="Tahoma"/>
              </a:rPr>
              <a:t>(</a:t>
            </a:r>
            <a:r>
              <a:rPr sz="1100" spc="-265" dirty="0">
                <a:latin typeface="Georgia"/>
                <a:cs typeface="Georgia"/>
              </a:rPr>
              <a:t>𝑘</a:t>
            </a:r>
            <a:r>
              <a:rPr sz="1100" spc="60" dirty="0">
                <a:latin typeface="Georgia"/>
                <a:cs typeface="Georgia"/>
              </a:rPr>
              <a:t> </a:t>
            </a:r>
            <a:r>
              <a:rPr sz="1100" spc="155" dirty="0">
                <a:latin typeface="Georgia"/>
                <a:cs typeface="Georgia"/>
              </a:rPr>
              <a:t>&lt;</a:t>
            </a:r>
            <a:r>
              <a:rPr sz="1100" spc="30" dirty="0">
                <a:latin typeface="Georgia"/>
                <a:cs typeface="Georgia"/>
              </a:rPr>
              <a:t> </a:t>
            </a:r>
            <a:r>
              <a:rPr sz="1100" spc="-160" dirty="0">
                <a:latin typeface="Georgia"/>
                <a:cs typeface="Georgia"/>
              </a:rPr>
              <a:t>𝑛</a:t>
            </a:r>
            <a:r>
              <a:rPr sz="1100" spc="-160" dirty="0">
                <a:latin typeface="Tahoma"/>
                <a:cs typeface="Tahoma"/>
              </a:rPr>
              <a:t>)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 </a:t>
            </a:r>
            <a:r>
              <a:rPr sz="1100" dirty="0">
                <a:latin typeface="Tahoma"/>
                <a:cs typeface="Tahoma"/>
              </a:rPr>
              <a:t>LOOCV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proces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nearly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dentical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s</a:t>
            </a:r>
            <a:endParaRPr sz="1100" dirty="0">
              <a:latin typeface="Tahoma"/>
              <a:cs typeface="Tahoma"/>
            </a:endParaRPr>
          </a:p>
          <a:p>
            <a:pPr marL="289560" marR="50165">
              <a:lnSpc>
                <a:spcPct val="102600"/>
              </a:lnSpc>
              <a:spcBef>
                <a:spcPts val="680"/>
              </a:spcBef>
            </a:pPr>
            <a:r>
              <a:rPr sz="1100" spc="-25" dirty="0">
                <a:latin typeface="Tahoma"/>
                <a:cs typeface="Tahoma"/>
              </a:rPr>
              <a:t>thus,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resul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u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rrelated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other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oul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e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265" dirty="0">
                <a:latin typeface="Georgia"/>
                <a:cs typeface="Georgia"/>
              </a:rPr>
              <a:t>𝑘</a:t>
            </a:r>
            <a:r>
              <a:rPr sz="1100" spc="-265" dirty="0">
                <a:latin typeface="Tahoma"/>
                <a:cs typeface="Tahoma"/>
              </a:rPr>
              <a:t>-</a:t>
            </a:r>
            <a:r>
              <a:rPr lang="en-US" sz="1100" spc="-265" dirty="0">
                <a:latin typeface="Tahoma"/>
                <a:cs typeface="Tahoma"/>
              </a:rPr>
              <a:t>       </a:t>
            </a:r>
            <a:r>
              <a:rPr sz="1100" spc="-10" dirty="0">
                <a:latin typeface="Tahoma"/>
                <a:cs typeface="Tahoma"/>
              </a:rPr>
              <a:t>fold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V</a:t>
            </a:r>
            <a:endParaRPr sz="1100" dirty="0">
              <a:latin typeface="Tahoma"/>
              <a:cs typeface="Tahoma"/>
            </a:endParaRPr>
          </a:p>
          <a:p>
            <a:pPr marL="289560" marR="521334">
              <a:lnSpc>
                <a:spcPct val="102600"/>
              </a:lnSpc>
              <a:spcBef>
                <a:spcPts val="675"/>
              </a:spcBef>
            </a:pPr>
            <a:r>
              <a:rPr sz="1100" spc="-50" dirty="0">
                <a:latin typeface="Tahoma"/>
                <a:cs typeface="Tahoma"/>
              </a:rPr>
              <a:t>averag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highl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rrela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quantiti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high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25" dirty="0">
                <a:latin typeface="Tahoma"/>
                <a:cs typeface="Tahoma"/>
              </a:rPr>
              <a:t> the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we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 </a:t>
            </a:r>
            <a:r>
              <a:rPr sz="1100" spc="-10" dirty="0">
                <a:latin typeface="Tahoma"/>
                <a:cs typeface="Tahoma"/>
              </a:rPr>
              <a:t>correlated</a:t>
            </a:r>
            <a:endParaRPr sz="1100" dirty="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z="1100" spc="-10" dirty="0">
                <a:latin typeface="Tahoma"/>
                <a:cs typeface="Tahoma"/>
              </a:rPr>
              <a:t>Thus,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bias-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rade-</a:t>
            </a:r>
            <a:r>
              <a:rPr sz="1100" spc="-20" dirty="0">
                <a:latin typeface="Tahoma"/>
                <a:cs typeface="Tahoma"/>
              </a:rPr>
              <a:t>off </a:t>
            </a:r>
            <a:r>
              <a:rPr sz="1100" spc="-60" dirty="0">
                <a:latin typeface="Tahoma"/>
                <a:cs typeface="Tahoma"/>
              </a:rPr>
              <a:t>whe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com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hoos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20" dirty="0">
                <a:latin typeface="Georgia"/>
                <a:cs typeface="Georgia"/>
              </a:rPr>
              <a:t>𝑘</a:t>
            </a:r>
            <a:r>
              <a:rPr sz="1100" spc="95" dirty="0">
                <a:latin typeface="Georgia"/>
                <a:cs typeface="Georgia"/>
              </a:rPr>
              <a:t> </a:t>
            </a:r>
            <a:r>
              <a:rPr sz="1100" spc="-35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65" dirty="0">
                <a:latin typeface="Georgia"/>
                <a:cs typeface="Georgia"/>
              </a:rPr>
              <a:t>𝑘</a:t>
            </a:r>
            <a:r>
              <a:rPr sz="1100" spc="-265" dirty="0">
                <a:latin typeface="Tahoma"/>
                <a:cs typeface="Tahoma"/>
              </a:rPr>
              <a:t>-</a:t>
            </a:r>
            <a:r>
              <a:rPr sz="1100" spc="-20" dirty="0">
                <a:latin typeface="Tahoma"/>
                <a:cs typeface="Tahoma"/>
              </a:rPr>
              <a:t>fol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ross-</a:t>
            </a:r>
            <a:r>
              <a:rPr sz="1100" spc="-30" dirty="0">
                <a:latin typeface="Tahoma"/>
                <a:cs typeface="Tahoma"/>
              </a:rPr>
              <a:t>validation. </a:t>
            </a:r>
            <a:r>
              <a:rPr sz="1100" spc="-20" dirty="0">
                <a:latin typeface="Tahoma"/>
                <a:cs typeface="Tahoma"/>
              </a:rPr>
              <a:t>Typically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20" dirty="0">
                <a:latin typeface="Georgia"/>
                <a:cs typeface="Georgia"/>
              </a:rPr>
              <a:t>𝑘</a:t>
            </a:r>
            <a:r>
              <a:rPr sz="1100" spc="60" dirty="0">
                <a:latin typeface="Georgia"/>
                <a:cs typeface="Georgia"/>
              </a:rPr>
              <a:t> </a:t>
            </a:r>
            <a:r>
              <a:rPr sz="1100" spc="155" dirty="0">
                <a:latin typeface="Georgia"/>
                <a:cs typeface="Georgia"/>
              </a:rPr>
              <a:t>=</a:t>
            </a:r>
            <a:r>
              <a:rPr sz="1100" spc="30" dirty="0">
                <a:latin typeface="Georgia"/>
                <a:cs typeface="Georgia"/>
              </a:rPr>
              <a:t> </a:t>
            </a:r>
            <a:r>
              <a:rPr sz="1100" dirty="0">
                <a:latin typeface="Georgia"/>
                <a:cs typeface="Georgia"/>
              </a:rPr>
              <a:t>5</a:t>
            </a:r>
            <a:r>
              <a:rPr sz="1100" spc="70" dirty="0">
                <a:latin typeface="Georgia"/>
                <a:cs typeface="Georgia"/>
              </a:rPr>
              <a:t> </a:t>
            </a:r>
            <a:r>
              <a:rPr sz="1100" spc="-30" dirty="0">
                <a:latin typeface="Tahoma"/>
                <a:cs typeface="Tahoma"/>
              </a:rPr>
              <a:t>or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520" dirty="0">
                <a:latin typeface="Georgia"/>
                <a:cs typeface="Georgia"/>
              </a:rPr>
              <a:t>𝑘</a:t>
            </a:r>
            <a:r>
              <a:rPr sz="1100" spc="60" dirty="0">
                <a:latin typeface="Georgia"/>
                <a:cs typeface="Georgia"/>
              </a:rPr>
              <a:t> </a:t>
            </a:r>
            <a:r>
              <a:rPr sz="1100" spc="155" dirty="0">
                <a:latin typeface="Georgia"/>
                <a:cs typeface="Georgia"/>
              </a:rPr>
              <a:t>=</a:t>
            </a:r>
            <a:r>
              <a:rPr sz="1100" spc="25" dirty="0">
                <a:latin typeface="Georgia"/>
                <a:cs typeface="Georgia"/>
              </a:rPr>
              <a:t> </a:t>
            </a:r>
            <a:r>
              <a:rPr sz="1100" dirty="0">
                <a:latin typeface="Georgia"/>
                <a:cs typeface="Georgia"/>
              </a:rPr>
              <a:t>10</a:t>
            </a:r>
            <a:r>
              <a:rPr sz="1100" spc="75" dirty="0">
                <a:latin typeface="Georgia"/>
                <a:cs typeface="Georg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used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D8CA3A40-26FD-2246-25E6-8268D94E4EE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40" dirty="0"/>
              <a:t>Exercises:</a:t>
            </a:r>
            <a:r>
              <a:rPr spc="25" dirty="0"/>
              <a:t> </a:t>
            </a:r>
            <a:r>
              <a:rPr sz="1450" spc="-350" dirty="0">
                <a:latin typeface="Georgia"/>
                <a:cs typeface="Georgia"/>
              </a:rPr>
              <a:t>𝑘</a:t>
            </a:r>
            <a:r>
              <a:rPr spc="-350" dirty="0"/>
              <a:t>-</a:t>
            </a:r>
            <a:r>
              <a:rPr spc="-10" dirty="0"/>
              <a:t>fold</a:t>
            </a:r>
            <a:r>
              <a:rPr spc="-90" dirty="0"/>
              <a:t> </a:t>
            </a:r>
            <a:r>
              <a:rPr spc="50" dirty="0"/>
              <a:t>CV</a:t>
            </a:r>
            <a:endParaRPr sz="1450">
              <a:latin typeface="Georgia"/>
              <a:cs typeface="Georgia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1009304"/>
            <a:ext cx="4217035" cy="105156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100" spc="-20" dirty="0">
                <a:latin typeface="Tahoma"/>
                <a:cs typeface="Tahoma"/>
              </a:rPr>
              <a:t>Ope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Resampl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ethod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arkdow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Jupyte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G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60" dirty="0">
                <a:latin typeface="Tahoma"/>
                <a:cs typeface="Tahoma"/>
              </a:rPr>
              <a:t>“</a:t>
            </a:r>
            <a:r>
              <a:rPr sz="1100" spc="-160" dirty="0">
                <a:latin typeface="Georgia"/>
                <a:cs typeface="Georgia"/>
              </a:rPr>
              <a:t>𝑘</a:t>
            </a:r>
            <a:r>
              <a:rPr sz="1100" spc="-160" dirty="0">
                <a:latin typeface="Tahoma"/>
                <a:cs typeface="Tahoma"/>
              </a:rPr>
              <a:t>-</a:t>
            </a:r>
            <a:r>
              <a:rPr sz="1100" spc="-10" dirty="0">
                <a:latin typeface="Tahoma"/>
                <a:cs typeface="Tahoma"/>
              </a:rPr>
              <a:t>fol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CV”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35" dirty="0">
                <a:latin typeface="Tahoma"/>
                <a:cs typeface="Tahoma"/>
              </a:rPr>
              <a:t> together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5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inute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tudent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lete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questions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60" dirty="0">
                <a:latin typeface="Tahoma"/>
                <a:cs typeface="Tahoma"/>
              </a:rPr>
              <a:t>“</a:t>
            </a:r>
            <a:r>
              <a:rPr sz="1100" spc="-160" dirty="0">
                <a:latin typeface="Georgia"/>
                <a:cs typeface="Georgia"/>
              </a:rPr>
              <a:t>𝑘</a:t>
            </a:r>
            <a:r>
              <a:rPr sz="1100" spc="-160" dirty="0">
                <a:latin typeface="Tahoma"/>
                <a:cs typeface="Tahoma"/>
              </a:rPr>
              <a:t>-</a:t>
            </a:r>
            <a:r>
              <a:rPr sz="1100" spc="-10" dirty="0">
                <a:latin typeface="Tahoma"/>
                <a:cs typeface="Tahoma"/>
              </a:rPr>
              <a:t>fol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V”. </a:t>
            </a:r>
            <a:r>
              <a:rPr sz="1100" spc="-35" dirty="0">
                <a:latin typeface="Tahoma"/>
                <a:cs typeface="Tahoma"/>
              </a:rPr>
              <a:t>Questions </a:t>
            </a:r>
            <a:r>
              <a:rPr sz="1100" spc="-40" dirty="0">
                <a:latin typeface="Tahoma"/>
                <a:cs typeface="Tahoma"/>
              </a:rPr>
              <a:t>shoul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le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hom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im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o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llow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9ED8AA3A-5C34-9845-B2C7-2524EDC671C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11442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5" dirty="0"/>
              <a:t> </a:t>
            </a:r>
            <a:r>
              <a:rPr spc="-10" dirty="0"/>
              <a:t>Bootstrap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4951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79701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137803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395918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00444" y="501446"/>
            <a:ext cx="5553075" cy="243395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74930">
              <a:lnSpc>
                <a:spcPct val="102600"/>
              </a:lnSpc>
              <a:spcBef>
                <a:spcPts val="90"/>
              </a:spcBef>
            </a:pPr>
            <a:r>
              <a:rPr sz="1100" spc="-45" dirty="0">
                <a:latin typeface="Tahoma"/>
                <a:cs typeface="Tahoma"/>
              </a:rPr>
              <a:t>Suppose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ish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nd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verag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opulat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oron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30" dirty="0">
                <a:latin typeface="Georgia"/>
                <a:cs typeface="Georgia"/>
              </a:rPr>
              <a:t>𝜇</a:t>
            </a:r>
            <a:r>
              <a:rPr sz="1100" spc="95" dirty="0">
                <a:latin typeface="Georgia"/>
                <a:cs typeface="Georgi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f </a:t>
            </a:r>
            <a:r>
              <a:rPr sz="1100" spc="-35" dirty="0">
                <a:latin typeface="Tahoma"/>
                <a:cs typeface="Tahoma"/>
              </a:rPr>
              <a:t>siz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40" dirty="0">
                <a:latin typeface="Georgia"/>
                <a:cs typeface="Georgia"/>
              </a:rPr>
              <a:t>𝑛</a:t>
            </a:r>
            <a:r>
              <a:rPr sz="1100" spc="-240" dirty="0">
                <a:latin typeface="Tahoma"/>
                <a:cs typeface="Tahoma"/>
              </a:rPr>
              <a:t>.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e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nd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80" dirty="0">
                <a:latin typeface="Georgia"/>
                <a:cs typeface="Georgia"/>
              </a:rPr>
              <a:t>𝜇</a:t>
            </a:r>
            <a:r>
              <a:rPr sz="1125" spc="-569" baseline="-22222" dirty="0">
                <a:latin typeface="Georgia"/>
                <a:cs typeface="Georgia"/>
              </a:rPr>
              <a:t>𝑠</a:t>
            </a:r>
            <a:r>
              <a:rPr sz="1125" spc="337" baseline="-22222" dirty="0">
                <a:latin typeface="Georgia"/>
                <a:cs typeface="Georgia"/>
              </a:rPr>
              <a:t> </a:t>
            </a:r>
            <a:r>
              <a:rPr lang="en-US" sz="1125" spc="337" baseline="-22222" dirty="0">
                <a:latin typeface="Georgia"/>
                <a:cs typeface="Georgi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o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ive</a:t>
            </a:r>
            <a:r>
              <a:rPr sz="1100" spc="-35" dirty="0">
                <a:latin typeface="Tahoma"/>
                <a:cs typeface="Tahoma"/>
              </a:rPr>
              <a:t> an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dic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how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ompar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u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opul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5" dirty="0">
                <a:latin typeface="Georgia"/>
                <a:cs typeface="Georgia"/>
              </a:rPr>
              <a:t>𝜇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bootstrap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ca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b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used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quantify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uncertainty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an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estimat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ollowing </a:t>
            </a:r>
            <a:r>
              <a:rPr sz="1100" spc="-20" dirty="0">
                <a:latin typeface="Tahoma"/>
                <a:cs typeface="Tahoma"/>
              </a:rPr>
              <a:t>way:</a:t>
            </a:r>
            <a:endParaRPr sz="1100" dirty="0">
              <a:latin typeface="Tahoma"/>
              <a:cs typeface="Tahoma"/>
            </a:endParaRPr>
          </a:p>
          <a:p>
            <a:pPr marL="314960" marR="30480">
              <a:lnSpc>
                <a:spcPct val="102600"/>
              </a:lnSpc>
              <a:spcBef>
                <a:spcPts val="680"/>
              </a:spcBef>
            </a:pPr>
            <a:r>
              <a:rPr sz="1100" spc="-30" dirty="0">
                <a:latin typeface="Tahoma"/>
                <a:cs typeface="Tahoma"/>
              </a:rPr>
              <a:t>Randomly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30" dirty="0">
                <a:latin typeface="Georgia"/>
                <a:cs typeface="Georgia"/>
              </a:rPr>
              <a:t>𝑛</a:t>
            </a:r>
            <a:r>
              <a:rPr sz="1100" spc="95" dirty="0">
                <a:latin typeface="Georgia"/>
                <a:cs typeface="Georg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0" dirty="0">
                <a:latin typeface="Tahoma"/>
                <a:cs typeface="Tahoma"/>
              </a:rPr>
              <a:t> from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rigina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cqui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new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he </a:t>
            </a:r>
            <a:r>
              <a:rPr sz="1100" spc="-60" dirty="0">
                <a:latin typeface="Tahoma"/>
                <a:cs typeface="Tahoma"/>
              </a:rPr>
              <a:t>sam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iz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(repea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llowed).</a:t>
            </a:r>
            <a:endParaRPr sz="1100" dirty="0">
              <a:latin typeface="Tahoma"/>
              <a:cs typeface="Tahoma"/>
            </a:endParaRPr>
          </a:p>
          <a:p>
            <a:pPr marL="314960" marR="1316355">
              <a:lnSpc>
                <a:spcPct val="154000"/>
              </a:lnSpc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sir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i.e.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vera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ge)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new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. </a:t>
            </a:r>
            <a:r>
              <a:rPr sz="1100" spc="-30" dirty="0">
                <a:latin typeface="Tahoma"/>
                <a:cs typeface="Tahoma"/>
              </a:rPr>
              <a:t>Repe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ep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1-</a:t>
            </a:r>
            <a:r>
              <a:rPr sz="1100" dirty="0">
                <a:latin typeface="Tahoma"/>
                <a:cs typeface="Tahoma"/>
              </a:rPr>
              <a:t>2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an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imes.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andar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SE)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stimates.</a:t>
            </a:r>
            <a:endParaRPr sz="1100" dirty="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35" dirty="0">
                <a:latin typeface="Tahoma"/>
                <a:cs typeface="Tahoma"/>
              </a:rPr>
              <a:t> method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able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i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u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riabilit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u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ampl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ean</a:t>
            </a:r>
            <a:endParaRPr sz="1100" dirty="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35"/>
              </a:spcBef>
            </a:pPr>
            <a:r>
              <a:rPr sz="1100" spc="-280" dirty="0">
                <a:latin typeface="Georgia"/>
                <a:cs typeface="Georgia"/>
              </a:rPr>
              <a:t>𝜇</a:t>
            </a:r>
            <a:r>
              <a:rPr sz="1125" spc="-419" baseline="-22222" dirty="0">
                <a:latin typeface="Georgia"/>
                <a:cs typeface="Georgia"/>
              </a:rPr>
              <a:t>𝑠</a:t>
            </a:r>
            <a:r>
              <a:rPr sz="1100" spc="-28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5" name="object 8">
            <a:extLst>
              <a:ext uri="{FF2B5EF4-FFF2-40B4-BE49-F238E27FC236}">
                <a16:creationId xmlns:a16="http://schemas.microsoft.com/office/drawing/2014/main" id="{7AA50270-1338-7DA3-DBE1-06572D5952D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80" dirty="0"/>
              <a:t> </a:t>
            </a:r>
            <a:r>
              <a:rPr dirty="0"/>
              <a:t>The</a:t>
            </a:r>
            <a:r>
              <a:rPr spc="-45" dirty="0"/>
              <a:t> </a:t>
            </a:r>
            <a:r>
              <a:rPr spc="-10" dirty="0"/>
              <a:t>Bootstrap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19798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Ope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sampl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ethod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arkdown</a:t>
            </a:r>
            <a:r>
              <a:rPr sz="1100" spc="-35" dirty="0">
                <a:latin typeface="Tahoma"/>
                <a:cs typeface="Tahoma"/>
              </a:rPr>
              <a:t> and </a:t>
            </a:r>
            <a:r>
              <a:rPr sz="1100" spc="-25" dirty="0">
                <a:latin typeface="Tahoma"/>
                <a:cs typeface="Tahoma"/>
              </a:rPr>
              <a:t>Jupy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G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“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ootstrap”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gether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610A5B3E-4EB7-F7D5-3DED-99E24FE7DEC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5000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25" dirty="0"/>
              <a:t>Chapter</a:t>
            </a:r>
            <a:r>
              <a:rPr spc="-45" dirty="0"/>
              <a:t> </a:t>
            </a:r>
            <a:r>
              <a:rPr dirty="0"/>
              <a:t>5</a:t>
            </a:r>
            <a:r>
              <a:rPr spc="-40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ISLR2</a:t>
            </a:r>
            <a:r>
              <a:rPr spc="-40" dirty="0"/>
              <a:t> </a:t>
            </a:r>
            <a:r>
              <a:rPr spc="-35" dirty="0"/>
              <a:t>and</a:t>
            </a:r>
            <a:r>
              <a:rPr spc="-40" dirty="0"/>
              <a:t> </a:t>
            </a:r>
            <a:r>
              <a:rPr dirty="0"/>
              <a:t>ISLP</a:t>
            </a:r>
            <a:r>
              <a:rPr spc="-40" dirty="0"/>
              <a:t> </a:t>
            </a:r>
            <a:r>
              <a:rPr spc="-10" dirty="0"/>
              <a:t>books:</a:t>
            </a: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pc="-35" dirty="0"/>
              <a:t>James,</a:t>
            </a:r>
            <a:r>
              <a:rPr spc="-40" dirty="0"/>
              <a:t> </a:t>
            </a:r>
            <a:r>
              <a:rPr spc="-35" dirty="0"/>
              <a:t>Gareth, </a:t>
            </a:r>
            <a:r>
              <a:rPr dirty="0"/>
              <a:t>et</a:t>
            </a:r>
            <a:r>
              <a:rPr spc="-40" dirty="0"/>
              <a:t> </a:t>
            </a:r>
            <a:r>
              <a:rPr dirty="0"/>
              <a:t>al.</a:t>
            </a:r>
            <a:r>
              <a:rPr spc="-35" dirty="0"/>
              <a:t> </a:t>
            </a:r>
            <a:r>
              <a:rPr spc="-30" dirty="0"/>
              <a:t>“Resampling</a:t>
            </a:r>
            <a:r>
              <a:rPr spc="-40" dirty="0"/>
              <a:t> </a:t>
            </a:r>
            <a:r>
              <a:rPr spc="-20" dirty="0"/>
              <a:t>Methods.”</a:t>
            </a:r>
            <a:r>
              <a:rPr spc="65" dirty="0"/>
              <a:t> </a:t>
            </a:r>
            <a:r>
              <a:rPr dirty="0"/>
              <a:t>An</a:t>
            </a:r>
            <a:r>
              <a:rPr spc="-35" dirty="0"/>
              <a:t> </a:t>
            </a:r>
            <a:r>
              <a:rPr spc="-30" dirty="0"/>
              <a:t>Introduction</a:t>
            </a:r>
            <a:r>
              <a:rPr spc="-40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dirty="0"/>
              <a:t>Statistical</a:t>
            </a:r>
            <a:r>
              <a:rPr spc="-40" dirty="0"/>
              <a:t> </a:t>
            </a:r>
            <a:r>
              <a:rPr spc="-35" dirty="0"/>
              <a:t>Learning:</a:t>
            </a:r>
            <a:r>
              <a:rPr spc="65" dirty="0"/>
              <a:t> </a:t>
            </a:r>
            <a:r>
              <a:rPr spc="-20" dirty="0"/>
              <a:t>with Applications</a:t>
            </a:r>
            <a:r>
              <a:rPr spc="-10" dirty="0"/>
              <a:t> </a:t>
            </a:r>
            <a:r>
              <a:rPr dirty="0"/>
              <a:t>in</a:t>
            </a:r>
            <a:r>
              <a:rPr spc="-10" dirty="0"/>
              <a:t> </a:t>
            </a:r>
            <a:r>
              <a:rPr dirty="0"/>
              <a:t>R,</a:t>
            </a:r>
            <a:r>
              <a:rPr spc="-10" dirty="0"/>
              <a:t> </a:t>
            </a:r>
            <a:r>
              <a:rPr spc="-40" dirty="0"/>
              <a:t>2nd</a:t>
            </a:r>
            <a:r>
              <a:rPr spc="-5" dirty="0"/>
              <a:t> </a:t>
            </a:r>
            <a:r>
              <a:rPr spc="-50" dirty="0"/>
              <a:t>ed.,</a:t>
            </a:r>
            <a:r>
              <a:rPr spc="-10" dirty="0"/>
              <a:t> </a:t>
            </a:r>
            <a:r>
              <a:rPr spc="-40" dirty="0"/>
              <a:t>Springer,</a:t>
            </a:r>
            <a:r>
              <a:rPr spc="-10" dirty="0"/>
              <a:t> 2021.</a:t>
            </a: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pc="-35" dirty="0"/>
              <a:t>James,</a:t>
            </a:r>
            <a:r>
              <a:rPr spc="-40" dirty="0"/>
              <a:t> </a:t>
            </a:r>
            <a:r>
              <a:rPr spc="-35" dirty="0"/>
              <a:t>Gareth, </a:t>
            </a:r>
            <a:r>
              <a:rPr dirty="0"/>
              <a:t>et</a:t>
            </a:r>
            <a:r>
              <a:rPr spc="-40" dirty="0"/>
              <a:t> </a:t>
            </a:r>
            <a:r>
              <a:rPr dirty="0"/>
              <a:t>al.</a:t>
            </a:r>
            <a:r>
              <a:rPr spc="-35" dirty="0"/>
              <a:t> </a:t>
            </a:r>
            <a:r>
              <a:rPr spc="-30" dirty="0"/>
              <a:t>“Resampling</a:t>
            </a:r>
            <a:r>
              <a:rPr spc="-40" dirty="0"/>
              <a:t> </a:t>
            </a:r>
            <a:r>
              <a:rPr spc="-20" dirty="0"/>
              <a:t>Methods.”</a:t>
            </a:r>
            <a:r>
              <a:rPr spc="65" dirty="0"/>
              <a:t> </a:t>
            </a:r>
            <a:r>
              <a:rPr dirty="0"/>
              <a:t>An</a:t>
            </a:r>
            <a:r>
              <a:rPr spc="-35" dirty="0"/>
              <a:t> </a:t>
            </a:r>
            <a:r>
              <a:rPr spc="-30" dirty="0"/>
              <a:t>Introduction</a:t>
            </a:r>
            <a:r>
              <a:rPr spc="-40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dirty="0"/>
              <a:t>Statistical</a:t>
            </a:r>
            <a:r>
              <a:rPr spc="-40" dirty="0"/>
              <a:t> </a:t>
            </a:r>
            <a:r>
              <a:rPr spc="-35" dirty="0"/>
              <a:t>Learning:</a:t>
            </a:r>
            <a:r>
              <a:rPr spc="65" dirty="0"/>
              <a:t> </a:t>
            </a:r>
            <a:r>
              <a:rPr spc="-20" dirty="0"/>
              <a:t>with Applications </a:t>
            </a:r>
            <a:r>
              <a:rPr dirty="0"/>
              <a:t>in</a:t>
            </a:r>
            <a:r>
              <a:rPr spc="-20" dirty="0"/>
              <a:t> </a:t>
            </a:r>
            <a:r>
              <a:rPr spc="-10" dirty="0"/>
              <a:t>Python,</a:t>
            </a:r>
            <a:r>
              <a:rPr spc="-15" dirty="0"/>
              <a:t> </a:t>
            </a:r>
            <a:r>
              <a:rPr spc="-40" dirty="0"/>
              <a:t>Springer,</a:t>
            </a:r>
            <a:r>
              <a:rPr spc="-20" dirty="0"/>
              <a:t> </a:t>
            </a:r>
            <a:r>
              <a:rPr spc="-10" dirty="0"/>
              <a:t>2023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DA1FDF64-AB32-FE91-9B1F-71D46DC8C68E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Introduc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900656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158771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690" y="1001249"/>
            <a:ext cx="5508625" cy="131064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45" dirty="0">
                <a:latin typeface="Tahoma"/>
                <a:cs typeface="Tahoma"/>
              </a:rPr>
              <a:t>Resampling </a:t>
            </a:r>
            <a:r>
              <a:rPr sz="1100" spc="-50" dirty="0">
                <a:latin typeface="Tahoma"/>
                <a:cs typeface="Tahoma"/>
              </a:rPr>
              <a:t>method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or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b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45" dirty="0">
                <a:latin typeface="Tahoma"/>
                <a:cs typeface="Tahoma"/>
              </a:rPr>
              <a:t> draw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ampl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ro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rain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dat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e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n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he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tting the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tere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45" dirty="0">
                <a:latin typeface="Tahoma"/>
                <a:cs typeface="Tahoma"/>
              </a:rPr>
              <a:t> subset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r>
              <a:rPr sz="1100" spc="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proces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peat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any </a:t>
            </a:r>
            <a:r>
              <a:rPr sz="1100" spc="-25" dirty="0">
                <a:latin typeface="Tahoma"/>
                <a:cs typeface="Tahoma"/>
              </a:rPr>
              <a:t>time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35" dirty="0">
                <a:latin typeface="Tahoma"/>
                <a:cs typeface="Tahoma"/>
              </a:rPr>
              <a:t> allows </a:t>
            </a:r>
            <a:r>
              <a:rPr sz="1100" spc="-20" dirty="0">
                <a:latin typeface="Tahoma"/>
                <a:cs typeface="Tahoma"/>
              </a:rPr>
              <a:t>u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ga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30" dirty="0">
                <a:latin typeface="Tahoma"/>
                <a:cs typeface="Tahoma"/>
              </a:rPr>
              <a:t> inform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bou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ithou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quiring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 dirty="0">
              <a:latin typeface="Tahoma"/>
              <a:cs typeface="Tahoma"/>
            </a:endParaRPr>
          </a:p>
          <a:p>
            <a:pPr marL="289560" marR="2707640" indent="-277495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ampl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ethods: </a:t>
            </a:r>
            <a:r>
              <a:rPr sz="1100" spc="-40" dirty="0">
                <a:latin typeface="Tahoma"/>
                <a:cs typeface="Tahoma"/>
              </a:rPr>
              <a:t>Cross-</a:t>
            </a:r>
            <a:r>
              <a:rPr sz="1100" spc="-10" dirty="0">
                <a:latin typeface="Tahoma"/>
                <a:cs typeface="Tahoma"/>
              </a:rPr>
              <a:t>validation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ootstrap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0D8D0DF9-B5AE-0C7A-B432-F4C40BA9C76C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45" dirty="0"/>
              <a:t> </a:t>
            </a:r>
            <a:r>
              <a:rPr spc="-10" dirty="0"/>
              <a:t>Validation</a:t>
            </a:r>
            <a:r>
              <a:rPr spc="-50" dirty="0"/>
              <a:t> </a:t>
            </a:r>
            <a:r>
              <a:rPr dirty="0"/>
              <a:t>Set</a:t>
            </a:r>
            <a:r>
              <a:rPr spc="-40" dirty="0"/>
              <a:t> </a:t>
            </a:r>
            <a:r>
              <a:rPr spc="-30" dirty="0"/>
              <a:t>Approach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2565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38376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899983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416212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81165" y="2674327"/>
            <a:ext cx="65201" cy="65201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121719" y="635341"/>
            <a:ext cx="5191125" cy="21710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125" dirty="0">
                <a:latin typeface="Arial Black"/>
                <a:cs typeface="Arial Black"/>
              </a:rPr>
              <a:t>validation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set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approach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bservations.</a:t>
            </a:r>
            <a:endParaRPr sz="1100" dirty="0">
              <a:latin typeface="Tahoma"/>
              <a:cs typeface="Tahoma"/>
            </a:endParaRPr>
          </a:p>
          <a:p>
            <a:pPr marL="289560" marR="276860">
              <a:lnSpc>
                <a:spcPct val="154000"/>
              </a:lnSpc>
            </a:pPr>
            <a:r>
              <a:rPr sz="1100" spc="-30" dirty="0">
                <a:latin typeface="Tahoma"/>
                <a:cs typeface="Tahoma"/>
              </a:rPr>
              <a:t>Randomly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vid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 </a:t>
            </a:r>
            <a:r>
              <a:rPr sz="1100" dirty="0">
                <a:latin typeface="Tahoma"/>
                <a:cs typeface="Tahoma"/>
              </a:rPr>
              <a:t>in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training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et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validatio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et</a:t>
            </a:r>
            <a:r>
              <a:rPr sz="1100" spc="-20" dirty="0">
                <a:latin typeface="Tahoma"/>
                <a:cs typeface="Tahoma"/>
              </a:rPr>
              <a:t>.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.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Predict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.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at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iv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ate.</a:t>
            </a:r>
            <a:endParaRPr sz="1100" dirty="0">
              <a:latin typeface="Tahoma"/>
              <a:cs typeface="Tahoma"/>
            </a:endParaRPr>
          </a:p>
          <a:p>
            <a:pPr marR="749300" algn="ctr">
              <a:lnSpc>
                <a:spcPct val="100000"/>
              </a:lnSpc>
              <a:spcBef>
                <a:spcPts val="710"/>
              </a:spcBef>
            </a:pPr>
            <a:r>
              <a:rPr sz="1100" spc="-20" dirty="0">
                <a:latin typeface="Tahoma"/>
                <a:cs typeface="Tahoma"/>
              </a:rPr>
              <a:t>Finding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at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depend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.</a:t>
            </a:r>
            <a:endParaRPr sz="1100" dirty="0">
              <a:latin typeface="Tahoma"/>
              <a:cs typeface="Tahoma"/>
            </a:endParaRPr>
          </a:p>
          <a:p>
            <a:pPr marR="709930" algn="ctr">
              <a:lnSpc>
                <a:spcPct val="100000"/>
              </a:lnSpc>
              <a:spcBef>
                <a:spcPts val="715"/>
              </a:spcBef>
            </a:pPr>
            <a:r>
              <a:rPr sz="1100" spc="-65" dirty="0">
                <a:latin typeface="Tahoma"/>
                <a:cs typeface="Tahoma"/>
              </a:rPr>
              <a:t>In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etting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d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MSE)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usually</a:t>
            </a:r>
            <a:r>
              <a:rPr sz="1100" spc="-10" dirty="0">
                <a:latin typeface="Tahoma"/>
                <a:cs typeface="Tahoma"/>
              </a:rPr>
              <a:t> used.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65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assificat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etting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isclassified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used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D1C3208A-4C64-766C-0AB9-5C4C94A65BB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45" dirty="0"/>
              <a:t> </a:t>
            </a:r>
            <a:r>
              <a:rPr spc="-10" dirty="0"/>
              <a:t>Validation</a:t>
            </a:r>
            <a:r>
              <a:rPr spc="-50" dirty="0"/>
              <a:t> </a:t>
            </a:r>
            <a:r>
              <a:rPr dirty="0"/>
              <a:t>Set</a:t>
            </a:r>
            <a:r>
              <a:rPr spc="-40" dirty="0"/>
              <a:t> </a:t>
            </a:r>
            <a:r>
              <a:rPr spc="-30" dirty="0"/>
              <a:t>Approach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298397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28584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864905"/>
            <a:ext cx="5508625" cy="140208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Ther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otenti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drawbac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pproach: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validation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se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error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rat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can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b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highly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variabl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i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epend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which </a:t>
            </a:r>
            <a:r>
              <a:rPr sz="1100" spc="-40" dirty="0">
                <a:latin typeface="Tahoma"/>
                <a:cs typeface="Tahoma"/>
              </a:rPr>
              <a:t>observations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5" dirty="0">
                <a:latin typeface="Tahoma"/>
                <a:cs typeface="Tahoma"/>
              </a:rPr>
              <a:t> included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ersu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.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at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a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overestimat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es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erro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rat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c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ing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mall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40" dirty="0">
                <a:latin typeface="Tahoma"/>
                <a:cs typeface="Tahoma"/>
              </a:rPr>
              <a:t>Cross-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tension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ccount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he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issue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C05A4124-EDE8-29FA-B1BA-6DF5CBF1196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65" dirty="0"/>
              <a:t> </a:t>
            </a:r>
            <a:r>
              <a:rPr dirty="0"/>
              <a:t>The</a:t>
            </a:r>
            <a:r>
              <a:rPr spc="-55" dirty="0"/>
              <a:t> </a:t>
            </a:r>
            <a:r>
              <a:rPr spc="-10" dirty="0"/>
              <a:t>Validation</a:t>
            </a:r>
            <a:r>
              <a:rPr spc="-60" dirty="0"/>
              <a:t> </a:t>
            </a:r>
            <a:r>
              <a:rPr dirty="0"/>
              <a:t>Set</a:t>
            </a:r>
            <a:r>
              <a:rPr spc="-60" dirty="0"/>
              <a:t> </a:t>
            </a:r>
            <a:r>
              <a:rPr spc="-30" dirty="0"/>
              <a:t>Approach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3281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9091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49030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107145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43189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20" dirty="0"/>
              <a:t>Open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0" dirty="0"/>
              <a:t> Resampling</a:t>
            </a:r>
            <a:r>
              <a:rPr spc="-35" dirty="0"/>
              <a:t> </a:t>
            </a:r>
            <a:r>
              <a:rPr spc="-10" dirty="0"/>
              <a:t>Methods</a:t>
            </a:r>
            <a:r>
              <a:rPr spc="-40" dirty="0"/>
              <a:t> </a:t>
            </a:r>
            <a:r>
              <a:rPr dirty="0"/>
              <a:t>R</a:t>
            </a:r>
            <a:r>
              <a:rPr spc="-35" dirty="0"/>
              <a:t> </a:t>
            </a:r>
            <a:r>
              <a:rPr spc="-30" dirty="0"/>
              <a:t>Markdown</a:t>
            </a:r>
            <a:r>
              <a:rPr spc="-40" dirty="0"/>
              <a:t> </a:t>
            </a:r>
            <a:r>
              <a:rPr spc="-20" dirty="0"/>
              <a:t>or</a:t>
            </a:r>
            <a:r>
              <a:rPr spc="-35" dirty="0"/>
              <a:t> </a:t>
            </a:r>
            <a:r>
              <a:rPr spc="-25" dirty="0"/>
              <a:t>Jupyter</a:t>
            </a:r>
            <a:r>
              <a:rPr spc="-40" dirty="0"/>
              <a:t> </a:t>
            </a:r>
            <a:r>
              <a:rPr spc="-25" dirty="0"/>
              <a:t>Notebook</a:t>
            </a:r>
            <a:r>
              <a:rPr spc="-35" dirty="0"/>
              <a:t> </a:t>
            </a:r>
            <a:r>
              <a:rPr spc="-10" dirty="0"/>
              <a:t>file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dirty="0"/>
              <a:t>Go</a:t>
            </a:r>
            <a:r>
              <a:rPr spc="-65" dirty="0"/>
              <a:t> </a:t>
            </a:r>
            <a:r>
              <a:rPr spc="-50" dirty="0"/>
              <a:t>over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dirty="0"/>
              <a:t>“Getting</a:t>
            </a:r>
            <a:r>
              <a:rPr spc="-45" dirty="0"/>
              <a:t> </a:t>
            </a:r>
            <a:r>
              <a:rPr spc="-10" dirty="0"/>
              <a:t>Started”</a:t>
            </a:r>
            <a:r>
              <a:rPr spc="-45" dirty="0"/>
              <a:t> </a:t>
            </a:r>
            <a:r>
              <a:rPr spc="-30" dirty="0"/>
              <a:t>section</a:t>
            </a:r>
            <a:r>
              <a:rPr spc="-45" dirty="0"/>
              <a:t> </a:t>
            </a:r>
            <a:r>
              <a:rPr spc="-35" dirty="0"/>
              <a:t>together</a:t>
            </a:r>
            <a:r>
              <a:rPr spc="-45" dirty="0"/>
              <a:t> </a:t>
            </a:r>
            <a:r>
              <a:rPr spc="-30" dirty="0"/>
              <a:t>as</a:t>
            </a:r>
            <a:r>
              <a:rPr spc="-45" dirty="0"/>
              <a:t> </a:t>
            </a:r>
            <a:r>
              <a:rPr dirty="0"/>
              <a:t>a</a:t>
            </a:r>
            <a:r>
              <a:rPr spc="-45" dirty="0"/>
              <a:t> </a:t>
            </a:r>
            <a:r>
              <a:rPr spc="-10" dirty="0"/>
              <a:t>class.</a:t>
            </a: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dirty="0"/>
              <a:t>Go</a:t>
            </a:r>
            <a:r>
              <a:rPr spc="-40" dirty="0"/>
              <a:t> </a:t>
            </a:r>
            <a:r>
              <a:rPr spc="-50" dirty="0"/>
              <a:t>over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dirty="0"/>
              <a:t>“The</a:t>
            </a:r>
            <a:r>
              <a:rPr spc="-40" dirty="0"/>
              <a:t> </a:t>
            </a:r>
            <a:r>
              <a:rPr spc="-10" dirty="0"/>
              <a:t>Validation</a:t>
            </a:r>
            <a:r>
              <a:rPr spc="-35" dirty="0"/>
              <a:t> </a:t>
            </a:r>
            <a:r>
              <a:rPr dirty="0"/>
              <a:t>Set</a:t>
            </a:r>
            <a:r>
              <a:rPr spc="-40" dirty="0"/>
              <a:t> </a:t>
            </a:r>
            <a:r>
              <a:rPr spc="-20" dirty="0"/>
              <a:t>Approach”</a:t>
            </a:r>
            <a:r>
              <a:rPr spc="-40" dirty="0"/>
              <a:t> </a:t>
            </a:r>
            <a:r>
              <a:rPr spc="-30" dirty="0"/>
              <a:t>section</a:t>
            </a:r>
            <a:r>
              <a:rPr spc="-35" dirty="0"/>
              <a:t> together</a:t>
            </a:r>
            <a:r>
              <a:rPr spc="-40" dirty="0"/>
              <a:t> </a:t>
            </a:r>
            <a:r>
              <a:rPr spc="-30" dirty="0"/>
              <a:t>as</a:t>
            </a:r>
            <a:r>
              <a:rPr spc="-35" dirty="0"/>
              <a:t> </a:t>
            </a:r>
            <a:r>
              <a:rPr dirty="0"/>
              <a:t>a</a:t>
            </a:r>
            <a:r>
              <a:rPr spc="-40" dirty="0"/>
              <a:t> </a:t>
            </a:r>
            <a:r>
              <a:rPr spc="-10" dirty="0"/>
              <a:t>class.</a:t>
            </a:r>
          </a:p>
          <a:p>
            <a:pPr marL="289560" marR="5080">
              <a:lnSpc>
                <a:spcPct val="154000"/>
              </a:lnSpc>
            </a:pPr>
            <a:r>
              <a:rPr dirty="0"/>
              <a:t>5</a:t>
            </a:r>
            <a:r>
              <a:rPr spc="-40" dirty="0"/>
              <a:t> </a:t>
            </a:r>
            <a:r>
              <a:rPr spc="-35" dirty="0"/>
              <a:t>minutes</a:t>
            </a:r>
            <a:r>
              <a:rPr spc="-40" dirty="0"/>
              <a:t> </a:t>
            </a:r>
            <a:r>
              <a:rPr spc="-20" dirty="0"/>
              <a:t>for</a:t>
            </a:r>
            <a:r>
              <a:rPr spc="-40" dirty="0"/>
              <a:t> </a:t>
            </a:r>
            <a:r>
              <a:rPr spc="-35" dirty="0"/>
              <a:t>students</a:t>
            </a:r>
            <a:r>
              <a:rPr spc="-40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spc="-40" dirty="0"/>
              <a:t>complete </a:t>
            </a:r>
            <a:r>
              <a:rPr spc="-10" dirty="0"/>
              <a:t>the</a:t>
            </a:r>
            <a:r>
              <a:rPr spc="-40" dirty="0"/>
              <a:t> questions </a:t>
            </a:r>
            <a:r>
              <a:rPr spc="-20" dirty="0"/>
              <a:t>from</a:t>
            </a:r>
            <a:r>
              <a:rPr spc="-40" dirty="0"/>
              <a:t> </a:t>
            </a:r>
            <a:r>
              <a:rPr dirty="0"/>
              <a:t>“The</a:t>
            </a:r>
            <a:r>
              <a:rPr spc="-35" dirty="0"/>
              <a:t> </a:t>
            </a:r>
            <a:r>
              <a:rPr spc="-10" dirty="0"/>
              <a:t>Validation</a:t>
            </a:r>
            <a:r>
              <a:rPr spc="-40" dirty="0"/>
              <a:t> </a:t>
            </a:r>
            <a:r>
              <a:rPr dirty="0"/>
              <a:t>Set</a:t>
            </a:r>
            <a:r>
              <a:rPr spc="-40" dirty="0"/>
              <a:t> </a:t>
            </a:r>
            <a:r>
              <a:rPr spc="-35" dirty="0"/>
              <a:t>Approach”. Questions </a:t>
            </a:r>
            <a:r>
              <a:rPr spc="-40" dirty="0"/>
              <a:t>should</a:t>
            </a:r>
            <a:r>
              <a:rPr spc="-30" dirty="0"/>
              <a:t> </a:t>
            </a:r>
            <a:r>
              <a:rPr spc="-10" dirty="0"/>
              <a:t>be</a:t>
            </a:r>
            <a:r>
              <a:rPr spc="-35" dirty="0"/>
              <a:t> </a:t>
            </a:r>
            <a:r>
              <a:rPr spc="-40" dirty="0"/>
              <a:t>completed</a:t>
            </a:r>
            <a:r>
              <a:rPr spc="-30" dirty="0"/>
              <a:t> </a:t>
            </a:r>
            <a:r>
              <a:rPr dirty="0"/>
              <a:t>at</a:t>
            </a:r>
            <a:r>
              <a:rPr spc="-30" dirty="0"/>
              <a:t> </a:t>
            </a:r>
            <a:r>
              <a:rPr spc="-60" dirty="0"/>
              <a:t>home</a:t>
            </a:r>
            <a:r>
              <a:rPr spc="-25" dirty="0"/>
              <a:t> </a:t>
            </a:r>
            <a:r>
              <a:rPr dirty="0"/>
              <a:t>if</a:t>
            </a:r>
            <a:r>
              <a:rPr spc="-30" dirty="0"/>
              <a:t> </a:t>
            </a:r>
            <a:r>
              <a:rPr spc="-10" dirty="0"/>
              <a:t>time</a:t>
            </a:r>
            <a:r>
              <a:rPr spc="-35" dirty="0"/>
              <a:t> </a:t>
            </a:r>
            <a:r>
              <a:rPr spc="-55" dirty="0"/>
              <a:t>does</a:t>
            </a:r>
            <a:r>
              <a:rPr spc="-30" dirty="0"/>
              <a:t> </a:t>
            </a:r>
            <a:r>
              <a:rPr dirty="0"/>
              <a:t>not</a:t>
            </a:r>
            <a:r>
              <a:rPr spc="-30" dirty="0"/>
              <a:t> </a:t>
            </a:r>
            <a:r>
              <a:rPr spc="-10" dirty="0"/>
              <a:t>allow.</a:t>
            </a: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5" name="object 8">
            <a:extLst>
              <a:ext uri="{FF2B5EF4-FFF2-40B4-BE49-F238E27FC236}">
                <a16:creationId xmlns:a16="http://schemas.microsoft.com/office/drawing/2014/main" id="{2F8698AA-1F33-4C76-5FC7-3D8229CE70D1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Leave-</a:t>
            </a:r>
            <a:r>
              <a:rPr spc="-45" dirty="0"/>
              <a:t>One-</a:t>
            </a:r>
            <a:r>
              <a:rPr dirty="0"/>
              <a:t>Out</a:t>
            </a:r>
            <a:r>
              <a:rPr spc="35" dirty="0"/>
              <a:t> </a:t>
            </a:r>
            <a:r>
              <a:rPr spc="-35" dirty="0"/>
              <a:t>Cross-</a:t>
            </a:r>
            <a:r>
              <a:rPr spc="-30" dirty="0"/>
              <a:t>Valid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3214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9025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48370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106485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818437"/>
            <a:ext cx="5508625" cy="165544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55"/>
              </a:spcBef>
            </a:pPr>
            <a:r>
              <a:rPr sz="1100" spc="-55" dirty="0">
                <a:latin typeface="Tahoma"/>
                <a:cs typeface="Tahoma"/>
              </a:rPr>
              <a:t>Leave-one-</a:t>
            </a:r>
            <a:r>
              <a:rPr sz="1100" spc="-20" dirty="0">
                <a:latin typeface="Tahoma"/>
                <a:cs typeface="Tahoma"/>
              </a:rPr>
              <a:t>ou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ross-</a:t>
            </a:r>
            <a:r>
              <a:rPr sz="1100" spc="-30" dirty="0">
                <a:latin typeface="Tahoma"/>
                <a:cs typeface="Tahoma"/>
              </a:rPr>
              <a:t>validatio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LOOCV)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ollows</a:t>
            </a:r>
            <a:r>
              <a:rPr sz="1100" spc="-10" dirty="0">
                <a:latin typeface="Tahoma"/>
                <a:cs typeface="Tahoma"/>
              </a:rPr>
              <a:t> 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am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ep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10" dirty="0">
                <a:latin typeface="Tahoma"/>
                <a:cs typeface="Tahoma"/>
              </a:rPr>
              <a:t> 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pproach except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validatio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e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jus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on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singl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observation</a:t>
            </a:r>
            <a:r>
              <a:rPr sz="1100" spc="-35" dirty="0">
                <a:latin typeface="Tahoma"/>
                <a:cs typeface="Tahoma"/>
              </a:rPr>
              <a:t>.</a:t>
            </a:r>
            <a:r>
              <a:rPr sz="1100" spc="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n,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Fi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.</a:t>
            </a:r>
            <a:endParaRPr sz="1100">
              <a:latin typeface="Tahoma"/>
              <a:cs typeface="Tahoma"/>
            </a:endParaRPr>
          </a:p>
          <a:p>
            <a:pPr marL="289560" marR="8255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Mak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edic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n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0" dirty="0">
                <a:latin typeface="Tahoma"/>
                <a:cs typeface="Tahoma"/>
              </a:rPr>
              <a:t> observation </a:t>
            </a:r>
            <a:r>
              <a:rPr sz="1100" spc="-35" dirty="0">
                <a:latin typeface="Tahoma"/>
                <a:cs typeface="Tahoma"/>
              </a:rPr>
              <a:t>us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odel. </a:t>
            </a: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rror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30" dirty="0">
                <a:latin typeface="Tahoma"/>
                <a:cs typeface="Tahoma"/>
              </a:rPr>
              <a:t>Repeat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proces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ever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bservation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LOOCV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verag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30" dirty="0">
                <a:latin typeface="Georgia"/>
                <a:cs typeface="Georgia"/>
              </a:rPr>
              <a:t>𝑛</a:t>
            </a:r>
            <a:r>
              <a:rPr sz="1100" spc="95" dirty="0">
                <a:latin typeface="Georgia"/>
                <a:cs typeface="Georgi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rror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6" name="object 8">
            <a:extLst>
              <a:ext uri="{FF2B5EF4-FFF2-40B4-BE49-F238E27FC236}">
                <a16:creationId xmlns:a16="http://schemas.microsoft.com/office/drawing/2014/main" id="{3F9E4E11-20EC-5BCE-6EA5-B26B7E1FE2D5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Leave-</a:t>
            </a:r>
            <a:r>
              <a:rPr spc="-45" dirty="0"/>
              <a:t>One-</a:t>
            </a:r>
            <a:r>
              <a:rPr dirty="0"/>
              <a:t>Out</a:t>
            </a:r>
            <a:r>
              <a:rPr spc="35" dirty="0"/>
              <a:t> </a:t>
            </a:r>
            <a:r>
              <a:rPr spc="-35" dirty="0"/>
              <a:t>Cross-</a:t>
            </a:r>
            <a:r>
              <a:rPr spc="-30" dirty="0"/>
              <a:t>Valid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01635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31822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968169"/>
            <a:ext cx="5368925" cy="114427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How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LOOCV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tt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lidation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pproach?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02699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I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less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bia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doe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no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overestimat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es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erro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rat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uc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i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using </a:t>
            </a:r>
            <a:r>
              <a:rPr sz="1100" spc="-50" dirty="0">
                <a:latin typeface="Tahoma"/>
                <a:cs typeface="Tahoma"/>
              </a:rPr>
              <a:t>a </a:t>
            </a:r>
            <a:r>
              <a:rPr sz="1100" dirty="0">
                <a:latin typeface="Tahoma"/>
                <a:cs typeface="Tahoma"/>
              </a:rPr>
              <a:t>lo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ra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.</a:t>
            </a:r>
            <a:endParaRPr sz="1100">
              <a:latin typeface="Tahoma"/>
              <a:cs typeface="Tahoma"/>
            </a:endParaRPr>
          </a:p>
          <a:p>
            <a:pPr marL="289560" marR="381635">
              <a:lnSpc>
                <a:spcPct val="102699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LOOCV</a:t>
            </a:r>
            <a:r>
              <a:rPr sz="1100" spc="-25" dirty="0">
                <a:latin typeface="Tahoma"/>
                <a:cs typeface="Tahoma"/>
              </a:rPr>
              <a:t> result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ar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c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n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andomnes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25" dirty="0">
                <a:latin typeface="Tahoma"/>
                <a:cs typeface="Tahoma"/>
              </a:rPr>
              <a:t> and valida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plit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9268B9E1-617F-9729-27BF-E50535E8445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100" dirty="0"/>
              <a:t> </a:t>
            </a:r>
            <a:r>
              <a:rPr spc="-40" dirty="0"/>
              <a:t>Leave-</a:t>
            </a:r>
            <a:r>
              <a:rPr spc="-45" dirty="0"/>
              <a:t>One-</a:t>
            </a:r>
            <a:r>
              <a:rPr dirty="0"/>
              <a:t>Out</a:t>
            </a:r>
            <a:r>
              <a:rPr spc="-35" dirty="0"/>
              <a:t> Cross-</a:t>
            </a:r>
            <a:r>
              <a:rPr spc="-30" dirty="0"/>
              <a:t>Valid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67218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25333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055520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933739"/>
            <a:ext cx="4629150" cy="122999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Ope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Resampl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ethod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arkdow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Jupyte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G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“Leave-One-</a:t>
            </a:r>
            <a:r>
              <a:rPr sz="1100" dirty="0">
                <a:latin typeface="Tahoma"/>
                <a:cs typeface="Tahoma"/>
              </a:rPr>
              <a:t>Out</a:t>
            </a:r>
            <a:r>
              <a:rPr sz="1100" spc="-35" dirty="0">
                <a:latin typeface="Tahoma"/>
                <a:cs typeface="Tahoma"/>
              </a:rPr>
              <a:t> Cross-</a:t>
            </a:r>
            <a:r>
              <a:rPr sz="1100" spc="-10" dirty="0">
                <a:latin typeface="Tahoma"/>
                <a:cs typeface="Tahoma"/>
              </a:rPr>
              <a:t>Validation”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35" dirty="0">
                <a:latin typeface="Tahoma"/>
                <a:cs typeface="Tahoma"/>
              </a:rPr>
              <a:t> together</a:t>
            </a:r>
            <a:r>
              <a:rPr sz="1100" spc="-30" dirty="0">
                <a:latin typeface="Tahoma"/>
                <a:cs typeface="Tahoma"/>
              </a:rPr>
              <a:t> 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  <a:p>
            <a:pPr marL="289560" marR="118745">
              <a:lnSpc>
                <a:spcPct val="102699"/>
              </a:lnSpc>
              <a:spcBef>
                <a:spcPts val="675"/>
              </a:spcBef>
            </a:pPr>
            <a:r>
              <a:rPr sz="1100" spc="-20" dirty="0">
                <a:latin typeface="Tahoma"/>
                <a:cs typeface="Tahoma"/>
              </a:rPr>
              <a:t>10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inutes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students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let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question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“Leave-One-</a:t>
            </a:r>
            <a:r>
              <a:rPr sz="1100" spc="-25" dirty="0">
                <a:latin typeface="Tahoma"/>
                <a:cs typeface="Tahoma"/>
              </a:rPr>
              <a:t>Out </a:t>
            </a:r>
            <a:r>
              <a:rPr sz="1100" spc="-35" dirty="0">
                <a:latin typeface="Tahoma"/>
                <a:cs typeface="Tahoma"/>
              </a:rPr>
              <a:t>Cross-</a:t>
            </a:r>
            <a:r>
              <a:rPr sz="1100" spc="-10" dirty="0">
                <a:latin typeface="Tahoma"/>
                <a:cs typeface="Tahoma"/>
              </a:rPr>
              <a:t>Validation”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35" dirty="0">
                <a:latin typeface="Tahoma"/>
                <a:cs typeface="Tahoma"/>
              </a:rPr>
              <a:t>Questions </a:t>
            </a:r>
            <a:r>
              <a:rPr sz="1100" spc="-40" dirty="0">
                <a:latin typeface="Tahoma"/>
                <a:cs typeface="Tahoma"/>
              </a:rPr>
              <a:t>shoul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le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hom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im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o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llow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0E22E4F2-B7F4-4BC3-10E1-D1CE4A5583B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983B5A1-BD25-17D5-5A40-BFB3507870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53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83B5A1-BD25-17D5-5A40-BFB350787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1175" y="57912"/>
            <a:ext cx="3215640" cy="239168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lang="en-US" sz="1450" spc="-330" dirty="0">
                <a:latin typeface="Georgia"/>
                <a:cs typeface="Georgia"/>
              </a:rPr>
              <a:t>𝑘                  </a:t>
            </a:r>
            <a:r>
              <a:rPr lang="en-US" spc="-330" dirty="0"/>
              <a:t>-     </a:t>
            </a:r>
            <a:r>
              <a:rPr lang="en-US" spc="-10" dirty="0"/>
              <a:t>Fo</a:t>
            </a:r>
            <a:r>
              <a:rPr spc="-10" dirty="0"/>
              <a:t>ld </a:t>
            </a:r>
            <a:r>
              <a:rPr spc="-35" dirty="0"/>
              <a:t>Cross-</a:t>
            </a:r>
            <a:r>
              <a:rPr spc="-30" dirty="0"/>
              <a:t>Validation</a:t>
            </a:r>
            <a:endParaRPr sz="1450" dirty="0">
              <a:latin typeface="Georgia"/>
              <a:cs typeface="Georgia"/>
            </a:endParaRPr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088796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1346911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81165" y="1605025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81165" y="1863140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715">
              <a:lnSpc>
                <a:spcPct val="102600"/>
              </a:lnSpc>
              <a:spcBef>
                <a:spcPts val="90"/>
              </a:spcBef>
            </a:pPr>
            <a:r>
              <a:rPr spc="-265" dirty="0">
                <a:latin typeface="Georgia"/>
                <a:cs typeface="Georgia"/>
              </a:rPr>
              <a:t>𝑘</a:t>
            </a:r>
            <a:r>
              <a:rPr lang="en-US" spc="-265" dirty="0">
                <a:latin typeface="Georgia"/>
                <a:cs typeface="Georgia"/>
              </a:rPr>
              <a:t>                                                                       </a:t>
            </a:r>
            <a:r>
              <a:rPr spc="-265" dirty="0"/>
              <a:t>-</a:t>
            </a:r>
            <a:r>
              <a:rPr lang="en-US" spc="-265" dirty="0"/>
              <a:t>    </a:t>
            </a:r>
            <a:r>
              <a:rPr spc="-10" dirty="0"/>
              <a:t>fold</a:t>
            </a:r>
            <a:r>
              <a:rPr spc="-80" dirty="0"/>
              <a:t> </a:t>
            </a:r>
            <a:r>
              <a:rPr spc="-50" dirty="0"/>
              <a:t>cross</a:t>
            </a:r>
            <a:r>
              <a:rPr spc="-35" dirty="0"/>
              <a:t> </a:t>
            </a:r>
            <a:r>
              <a:rPr spc="-25" dirty="0"/>
              <a:t>validation</a:t>
            </a:r>
            <a:r>
              <a:rPr spc="-35" dirty="0"/>
              <a:t> </a:t>
            </a:r>
            <a:r>
              <a:rPr spc="-40" dirty="0"/>
              <a:t>involves</a:t>
            </a:r>
            <a:r>
              <a:rPr spc="-35" dirty="0"/>
              <a:t> </a:t>
            </a:r>
            <a:r>
              <a:rPr spc="-40" dirty="0"/>
              <a:t>randomly</a:t>
            </a:r>
            <a:r>
              <a:rPr spc="-30" dirty="0"/>
              <a:t> </a:t>
            </a:r>
            <a:r>
              <a:rPr spc="-25" dirty="0"/>
              <a:t>dividing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30" dirty="0"/>
              <a:t> </a:t>
            </a:r>
            <a:r>
              <a:rPr spc="-20" dirty="0"/>
              <a:t>set</a:t>
            </a:r>
            <a:r>
              <a:rPr spc="-35" dirty="0"/>
              <a:t> </a:t>
            </a:r>
            <a:r>
              <a:rPr dirty="0"/>
              <a:t>of</a:t>
            </a:r>
            <a:r>
              <a:rPr spc="-30" dirty="0"/>
              <a:t> </a:t>
            </a:r>
            <a:r>
              <a:rPr spc="-45" dirty="0"/>
              <a:t>observations</a:t>
            </a:r>
            <a:r>
              <a:rPr spc="-35" dirty="0"/>
              <a:t> </a:t>
            </a:r>
            <a:r>
              <a:rPr dirty="0"/>
              <a:t>into</a:t>
            </a:r>
            <a:r>
              <a:rPr spc="-35" dirty="0"/>
              <a:t> </a:t>
            </a:r>
            <a:r>
              <a:rPr spc="-520" dirty="0">
                <a:latin typeface="Georgia"/>
                <a:cs typeface="Georgia"/>
              </a:rPr>
              <a:t>𝑘</a:t>
            </a:r>
            <a:r>
              <a:rPr spc="110" dirty="0">
                <a:latin typeface="Georgia"/>
                <a:cs typeface="Georgia"/>
              </a:rPr>
              <a:t> </a:t>
            </a:r>
            <a:r>
              <a:rPr spc="-35" dirty="0"/>
              <a:t>approximately </a:t>
            </a:r>
            <a:r>
              <a:rPr spc="-30" dirty="0"/>
              <a:t>equally</a:t>
            </a:r>
            <a:r>
              <a:rPr spc="-60" dirty="0"/>
              <a:t> </a:t>
            </a:r>
            <a:r>
              <a:rPr spc="-30" dirty="0"/>
              <a:t>sized</a:t>
            </a:r>
            <a:r>
              <a:rPr spc="-55" dirty="0"/>
              <a:t> </a:t>
            </a:r>
            <a:r>
              <a:rPr spc="-35" dirty="0"/>
              <a:t>groups.</a:t>
            </a:r>
            <a:r>
              <a:rPr spc="30" dirty="0"/>
              <a:t> </a:t>
            </a:r>
            <a:r>
              <a:rPr spc="-10" dirty="0"/>
              <a:t>Then,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dirty="0"/>
              <a:t>Fit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30" dirty="0"/>
              <a:t>model</a:t>
            </a:r>
            <a:r>
              <a:rPr spc="-35" dirty="0"/>
              <a:t> using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45" dirty="0"/>
              <a:t>observations</a:t>
            </a:r>
            <a:r>
              <a:rPr spc="-35" dirty="0"/>
              <a:t> </a:t>
            </a:r>
            <a:r>
              <a:rPr spc="-20" dirty="0"/>
              <a:t>from</a:t>
            </a:r>
            <a:r>
              <a:rPr spc="-35" dirty="0"/>
              <a:t> </a:t>
            </a:r>
            <a:r>
              <a:rPr dirty="0"/>
              <a:t>all</a:t>
            </a:r>
            <a:r>
              <a:rPr spc="-35" dirty="0"/>
              <a:t> </a:t>
            </a:r>
            <a:r>
              <a:rPr dirty="0"/>
              <a:t>but</a:t>
            </a:r>
            <a:r>
              <a:rPr spc="-35" dirty="0"/>
              <a:t> </a:t>
            </a:r>
            <a:r>
              <a:rPr spc="-50" dirty="0"/>
              <a:t>one</a:t>
            </a:r>
            <a:r>
              <a:rPr spc="-35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10" dirty="0"/>
              <a:t>groups.</a:t>
            </a:r>
          </a:p>
          <a:p>
            <a:pPr marL="289560" marR="669290">
              <a:lnSpc>
                <a:spcPct val="154000"/>
              </a:lnSpc>
            </a:pPr>
            <a:r>
              <a:rPr dirty="0"/>
              <a:t>Make</a:t>
            </a:r>
            <a:r>
              <a:rPr spc="-50" dirty="0"/>
              <a:t> </a:t>
            </a:r>
            <a:r>
              <a:rPr spc="-35" dirty="0"/>
              <a:t>predictions </a:t>
            </a:r>
            <a:r>
              <a:rPr spc="-20" dirty="0"/>
              <a:t>for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65" dirty="0"/>
              <a:t>response</a:t>
            </a:r>
            <a:r>
              <a:rPr spc="-20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45" dirty="0"/>
              <a:t>observations</a:t>
            </a:r>
            <a:r>
              <a:rPr spc="-35" dirty="0"/>
              <a:t> </a:t>
            </a:r>
            <a:r>
              <a:rPr dirty="0"/>
              <a:t>in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40" dirty="0"/>
              <a:t>remaining</a:t>
            </a:r>
            <a:r>
              <a:rPr spc="-35" dirty="0"/>
              <a:t> </a:t>
            </a:r>
            <a:r>
              <a:rPr spc="-45" dirty="0"/>
              <a:t>group. </a:t>
            </a:r>
            <a:r>
              <a:rPr spc="-30" dirty="0"/>
              <a:t>Compute</a:t>
            </a:r>
            <a:r>
              <a:rPr spc="-50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spc="-25" dirty="0"/>
              <a:t>validation</a:t>
            </a:r>
            <a:r>
              <a:rPr spc="-45" dirty="0"/>
              <a:t> </a:t>
            </a:r>
            <a:r>
              <a:rPr spc="-20" dirty="0"/>
              <a:t>set</a:t>
            </a:r>
            <a:r>
              <a:rPr spc="-45" dirty="0"/>
              <a:t> </a:t>
            </a:r>
            <a:r>
              <a:rPr spc="-10" dirty="0"/>
              <a:t>error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pc="-30" dirty="0"/>
              <a:t>Repeat</a:t>
            </a:r>
            <a:r>
              <a:rPr spc="-35" dirty="0"/>
              <a:t> </a:t>
            </a:r>
            <a:r>
              <a:rPr dirty="0"/>
              <a:t>this</a:t>
            </a:r>
            <a:r>
              <a:rPr spc="-30" dirty="0"/>
              <a:t> </a:t>
            </a:r>
            <a:r>
              <a:rPr spc="-60" dirty="0"/>
              <a:t>process</a:t>
            </a:r>
            <a:r>
              <a:rPr spc="-25" dirty="0"/>
              <a:t> </a:t>
            </a:r>
            <a:r>
              <a:rPr spc="-20" dirty="0"/>
              <a:t>for</a:t>
            </a:r>
            <a:r>
              <a:rPr spc="-30" dirty="0"/>
              <a:t> </a:t>
            </a:r>
            <a:r>
              <a:rPr spc="-50" dirty="0"/>
              <a:t>each</a:t>
            </a:r>
            <a:r>
              <a:rPr spc="-30" dirty="0"/>
              <a:t> </a:t>
            </a:r>
            <a:r>
              <a:rPr spc="-10" dirty="0"/>
              <a:t>group.</a:t>
            </a:r>
          </a:p>
          <a:p>
            <a:pPr marL="12700" marR="229870">
              <a:lnSpc>
                <a:spcPct val="102600"/>
              </a:lnSpc>
              <a:spcBef>
                <a:spcPts val="680"/>
              </a:spcBef>
            </a:pPr>
            <a:r>
              <a:rPr dirty="0"/>
              <a:t>The</a:t>
            </a:r>
            <a:r>
              <a:rPr spc="-90" dirty="0"/>
              <a:t> </a:t>
            </a:r>
            <a:r>
              <a:rPr spc="-265" dirty="0">
                <a:latin typeface="Georgia"/>
                <a:cs typeface="Georgia"/>
              </a:rPr>
              <a:t>𝑘</a:t>
            </a:r>
            <a:r>
              <a:rPr spc="-265" dirty="0"/>
              <a:t>-</a:t>
            </a:r>
            <a:r>
              <a:rPr spc="-10" dirty="0"/>
              <a:t>fold</a:t>
            </a:r>
            <a:r>
              <a:rPr spc="-45" dirty="0"/>
              <a:t> </a:t>
            </a:r>
            <a:r>
              <a:rPr spc="-50" dirty="0"/>
              <a:t>cross</a:t>
            </a:r>
            <a:r>
              <a:rPr spc="-35" dirty="0"/>
              <a:t> </a:t>
            </a:r>
            <a:r>
              <a:rPr spc="-25" dirty="0"/>
              <a:t>validation</a:t>
            </a:r>
            <a:r>
              <a:rPr spc="-35" dirty="0"/>
              <a:t> </a:t>
            </a:r>
            <a:r>
              <a:rPr spc="-30" dirty="0"/>
              <a:t>estimate</a:t>
            </a:r>
            <a:r>
              <a:rPr spc="-35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10" dirty="0"/>
              <a:t>test</a:t>
            </a:r>
            <a:r>
              <a:rPr spc="-35" dirty="0"/>
              <a:t> </a:t>
            </a:r>
            <a:r>
              <a:rPr spc="-50" dirty="0"/>
              <a:t>error</a:t>
            </a:r>
            <a:r>
              <a:rPr spc="-40" dirty="0"/>
              <a:t> </a:t>
            </a:r>
            <a:r>
              <a:rPr dirty="0"/>
              <a:t>is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55" dirty="0"/>
              <a:t>average</a:t>
            </a:r>
            <a:r>
              <a:rPr spc="-35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520" dirty="0">
                <a:latin typeface="Georgia"/>
                <a:cs typeface="Georgia"/>
              </a:rPr>
              <a:t>𝑘</a:t>
            </a:r>
            <a:r>
              <a:rPr spc="110" dirty="0">
                <a:latin typeface="Georgia"/>
                <a:cs typeface="Georgia"/>
              </a:rPr>
              <a:t> </a:t>
            </a:r>
            <a:r>
              <a:rPr spc="-25" dirty="0"/>
              <a:t>validation</a:t>
            </a:r>
            <a:r>
              <a:rPr spc="-35" dirty="0"/>
              <a:t> </a:t>
            </a:r>
            <a:r>
              <a:rPr spc="-25" dirty="0"/>
              <a:t>set </a:t>
            </a:r>
            <a:r>
              <a:rPr spc="-10" dirty="0"/>
              <a:t>errors.</a:t>
            </a: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dirty="0"/>
              <a:t>LOOCV</a:t>
            </a:r>
            <a:r>
              <a:rPr spc="-65" dirty="0"/>
              <a:t> </a:t>
            </a:r>
            <a:r>
              <a:rPr dirty="0"/>
              <a:t>is</a:t>
            </a:r>
            <a:r>
              <a:rPr spc="-10" dirty="0"/>
              <a:t> </a:t>
            </a:r>
            <a:r>
              <a:rPr dirty="0"/>
              <a:t>a</a:t>
            </a:r>
            <a:r>
              <a:rPr spc="-10" dirty="0"/>
              <a:t> </a:t>
            </a:r>
            <a:r>
              <a:rPr spc="-30" dirty="0"/>
              <a:t>special</a:t>
            </a:r>
            <a:r>
              <a:rPr spc="-15" dirty="0"/>
              <a:t> </a:t>
            </a:r>
            <a:r>
              <a:rPr spc="-55" dirty="0"/>
              <a:t>case</a:t>
            </a:r>
            <a:r>
              <a:rPr spc="-10" dirty="0"/>
              <a:t> </a:t>
            </a:r>
            <a:r>
              <a:rPr dirty="0"/>
              <a:t>of</a:t>
            </a:r>
            <a:r>
              <a:rPr spc="-15" dirty="0"/>
              <a:t> </a:t>
            </a:r>
            <a:r>
              <a:rPr spc="-10" dirty="0"/>
              <a:t>the </a:t>
            </a:r>
            <a:r>
              <a:rPr spc="-265" dirty="0">
                <a:latin typeface="Georgia"/>
                <a:cs typeface="Georgia"/>
              </a:rPr>
              <a:t>𝑘</a:t>
            </a:r>
            <a:r>
              <a:rPr spc="-265" dirty="0"/>
              <a:t>-</a:t>
            </a:r>
            <a:r>
              <a:rPr spc="-10" dirty="0"/>
              <a:t>fold </a:t>
            </a:r>
            <a:r>
              <a:rPr spc="-50" dirty="0"/>
              <a:t>cross</a:t>
            </a:r>
            <a:r>
              <a:rPr spc="-15" dirty="0"/>
              <a:t> </a:t>
            </a:r>
            <a:r>
              <a:rPr spc="-25" dirty="0"/>
              <a:t>validation</a:t>
            </a:r>
            <a:r>
              <a:rPr spc="-10" dirty="0"/>
              <a:t> </a:t>
            </a:r>
            <a:r>
              <a:rPr spc="-45" dirty="0"/>
              <a:t>approach</a:t>
            </a:r>
            <a:r>
              <a:rPr spc="-10" dirty="0"/>
              <a:t> </a:t>
            </a:r>
            <a:r>
              <a:rPr spc="-40" dirty="0"/>
              <a:t>using</a:t>
            </a:r>
            <a:r>
              <a:rPr spc="-10" dirty="0"/>
              <a:t> </a:t>
            </a:r>
            <a:r>
              <a:rPr spc="-520" dirty="0">
                <a:latin typeface="Georgia"/>
                <a:cs typeface="Georgia"/>
              </a:rPr>
              <a:t>𝑘</a:t>
            </a:r>
            <a:r>
              <a:rPr spc="60" dirty="0">
                <a:latin typeface="Georgia"/>
                <a:cs typeface="Georgia"/>
              </a:rPr>
              <a:t> </a:t>
            </a:r>
            <a:r>
              <a:rPr spc="155" dirty="0">
                <a:latin typeface="Georgia"/>
                <a:cs typeface="Georgia"/>
              </a:rPr>
              <a:t>=</a:t>
            </a:r>
            <a:r>
              <a:rPr spc="25" dirty="0">
                <a:latin typeface="Georgia"/>
                <a:cs typeface="Georgia"/>
              </a:rPr>
              <a:t> </a:t>
            </a:r>
            <a:r>
              <a:rPr spc="-430" dirty="0">
                <a:latin typeface="Georgia"/>
                <a:cs typeface="Georgia"/>
              </a:rPr>
              <a:t>𝑛</a:t>
            </a:r>
            <a:r>
              <a:rPr spc="95" dirty="0">
                <a:latin typeface="Georgia"/>
                <a:cs typeface="Georgia"/>
              </a:rPr>
              <a:t> </a:t>
            </a:r>
            <a:r>
              <a:rPr spc="-10" dirty="0"/>
              <a:t>($n</a:t>
            </a:r>
            <a:r>
              <a:rPr spc="-15" dirty="0"/>
              <a:t> </a:t>
            </a:r>
            <a:r>
              <a:rPr dirty="0"/>
              <a:t>=</a:t>
            </a:r>
            <a:r>
              <a:rPr spc="-10" dirty="0"/>
              <a:t> </a:t>
            </a:r>
            <a:r>
              <a:rPr dirty="0"/>
              <a:t>$</a:t>
            </a:r>
            <a:r>
              <a:rPr spc="-10" dirty="0"/>
              <a:t> </a:t>
            </a:r>
            <a:r>
              <a:rPr spc="-30" dirty="0"/>
              <a:t>number </a:t>
            </a:r>
            <a:r>
              <a:rPr dirty="0"/>
              <a:t>of</a:t>
            </a:r>
            <a:r>
              <a:rPr spc="-65" dirty="0"/>
              <a:t> </a:t>
            </a:r>
            <a:r>
              <a:rPr spc="-10" dirty="0"/>
              <a:t>observations).</a:t>
            </a: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35186" y="3106011"/>
            <a:ext cx="88963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6.4:</a:t>
            </a:r>
            <a:r>
              <a:rPr sz="600" spc="3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Resampling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Methods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14</a:t>
            </a:r>
          </a:p>
        </p:txBody>
      </p:sp>
      <p:sp>
        <p:nvSpPr>
          <p:cNvPr id="15" name="object 8">
            <a:extLst>
              <a:ext uri="{FF2B5EF4-FFF2-40B4-BE49-F238E27FC236}">
                <a16:creationId xmlns:a16="http://schemas.microsoft.com/office/drawing/2014/main" id="{38EAC5A4-ABF6-49D4-6AB5-B83D2131D50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06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1302</Words>
  <Application>Microsoft Office PowerPoint</Application>
  <PresentationFormat>Custom</PresentationFormat>
  <Paragraphs>11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 Black</vt:lpstr>
      <vt:lpstr>Georgia</vt:lpstr>
      <vt:lpstr>Tahoma</vt:lpstr>
      <vt:lpstr>Office Theme</vt:lpstr>
      <vt:lpstr>think-cell Slide</vt:lpstr>
      <vt:lpstr>PowerPoint Presentation</vt:lpstr>
      <vt:lpstr>Introduction</vt:lpstr>
      <vt:lpstr>The Validation Set Approach</vt:lpstr>
      <vt:lpstr>The Validation Set Approach</vt:lpstr>
      <vt:lpstr>Exercises: The Validation Set Approach</vt:lpstr>
      <vt:lpstr>Leave-One-Out Cross-Validation</vt:lpstr>
      <vt:lpstr>Leave-One-Out Cross-Validation</vt:lpstr>
      <vt:lpstr>Exercises: Leave-One-Out Cross-Validation</vt:lpstr>
      <vt:lpstr>𝑘                  -     Fold Cross-Validation</vt:lpstr>
      <vt:lpstr>Comparing LOOC and 𝑘-     fold Cross Validation</vt:lpstr>
      <vt:lpstr>Exercises: 𝑘-fold CV</vt:lpstr>
      <vt:lpstr>The Bootstrap</vt:lpstr>
      <vt:lpstr>Exercises: The Bootstrap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4: Resampling Methods</dc:title>
  <dc:creator>Navona Calarco</dc:creator>
  <cp:lastModifiedBy>Ebrahim, Kamilah</cp:lastModifiedBy>
  <cp:revision>1</cp:revision>
  <dcterms:created xsi:type="dcterms:W3CDTF">2023-12-26T18:56:36Z</dcterms:created>
  <dcterms:modified xsi:type="dcterms:W3CDTF">2023-12-27T01:0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Producer">
    <vt:lpwstr>xdvipdfmx (20220710)</vt:lpwstr>
  </property>
  <property fmtid="{D5CDD505-2E9C-101B-9397-08002B2CF9AE}" pid="5" name="LastSaved">
    <vt:filetime>2023-11-02T00:00:00Z</vt:filetime>
  </property>
  <property fmtid="{D5CDD505-2E9C-101B-9397-08002B2CF9AE}" pid="6" name="MSIP_Label_b0d5c4f4-7a29-4385-b7a5-afbe2154ae6f_Enabled">
    <vt:lpwstr>true</vt:lpwstr>
  </property>
  <property fmtid="{D5CDD505-2E9C-101B-9397-08002B2CF9AE}" pid="7" name="MSIP_Label_b0d5c4f4-7a29-4385-b7a5-afbe2154ae6f_SetDate">
    <vt:lpwstr>2023-12-27T00:55:30Z</vt:lpwstr>
  </property>
  <property fmtid="{D5CDD505-2E9C-101B-9397-08002B2CF9AE}" pid="8" name="MSIP_Label_b0d5c4f4-7a29-4385-b7a5-afbe2154ae6f_Method">
    <vt:lpwstr>Standard</vt:lpwstr>
  </property>
  <property fmtid="{D5CDD505-2E9C-101B-9397-08002B2CF9AE}" pid="9" name="MSIP_Label_b0d5c4f4-7a29-4385-b7a5-afbe2154ae6f_Name">
    <vt:lpwstr>Confidential</vt:lpwstr>
  </property>
  <property fmtid="{D5CDD505-2E9C-101B-9397-08002B2CF9AE}" pid="10" name="MSIP_Label_b0d5c4f4-7a29-4385-b7a5-afbe2154ae6f_SiteId">
    <vt:lpwstr>2dfb2f0b-4d21-4268-9559-72926144c918</vt:lpwstr>
  </property>
  <property fmtid="{D5CDD505-2E9C-101B-9397-08002B2CF9AE}" pid="11" name="MSIP_Label_b0d5c4f4-7a29-4385-b7a5-afbe2154ae6f_ActionId">
    <vt:lpwstr>17c5985a-966c-4635-8639-c4a7a6ec20cc</vt:lpwstr>
  </property>
  <property fmtid="{D5CDD505-2E9C-101B-9397-08002B2CF9AE}" pid="12" name="MSIP_Label_b0d5c4f4-7a29-4385-b7a5-afbe2154ae6f_ContentBits">
    <vt:lpwstr>0</vt:lpwstr>
  </property>
</Properties>
</file>